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5.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6.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7.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8.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0.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1.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12.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3.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108.xml" ContentType="application/vnd.openxmlformats-officedocument.presentationml.tags+xml"/>
  <Override PartName="/ppt/notesSlides/notesSlide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3.xml" ContentType="application/vnd.openxmlformats-officedocument.presentationml.notesSlide+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7" r:id="rId5"/>
    <p:sldMasterId id="2147483849" r:id="rId6"/>
    <p:sldMasterId id="2147483737" r:id="rId7"/>
    <p:sldMasterId id="2147483765" r:id="rId8"/>
    <p:sldMasterId id="2147483793" r:id="rId9"/>
    <p:sldMasterId id="2147483821" r:id="rId10"/>
    <p:sldMasterId id="2147483877" r:id="rId11"/>
    <p:sldMasterId id="2147483909" r:id="rId12"/>
    <p:sldMasterId id="2147483938" r:id="rId13"/>
    <p:sldMasterId id="2147483966" r:id="rId14"/>
    <p:sldMasterId id="2147483997" r:id="rId15"/>
    <p:sldMasterId id="2147484130" r:id="rId16"/>
  </p:sldMasterIdLst>
  <p:notesMasterIdLst>
    <p:notesMasterId r:id="rId35"/>
  </p:notesMasterIdLst>
  <p:handoutMasterIdLst>
    <p:handoutMasterId r:id="rId36"/>
  </p:handoutMasterIdLst>
  <p:sldIdLst>
    <p:sldId id="1651" r:id="rId17"/>
    <p:sldId id="1673" r:id="rId18"/>
    <p:sldId id="305" r:id="rId19"/>
    <p:sldId id="2134803839" r:id="rId20"/>
    <p:sldId id="2134803841" r:id="rId21"/>
    <p:sldId id="2134803842" r:id="rId22"/>
    <p:sldId id="3361" r:id="rId23"/>
    <p:sldId id="354" r:id="rId24"/>
    <p:sldId id="2134803834" r:id="rId25"/>
    <p:sldId id="2134803836" r:id="rId26"/>
    <p:sldId id="2134803847" r:id="rId27"/>
    <p:sldId id="2134803846" r:id="rId28"/>
    <p:sldId id="2134803825" r:id="rId29"/>
    <p:sldId id="2134803800" r:id="rId30"/>
    <p:sldId id="2134803837" r:id="rId31"/>
    <p:sldId id="3341" r:id="rId32"/>
    <p:sldId id="2134803844" r:id="rId33"/>
    <p:sldId id="2134803845"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orient="horz" pos="840" userDrawn="1">
          <p15:clr>
            <a:srgbClr val="A4A3A4"/>
          </p15:clr>
        </p15:guide>
        <p15:guide id="4" pos="19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7942"/>
    <a:srgbClr val="0070C0"/>
    <a:srgbClr val="969696"/>
    <a:srgbClr val="FF4100"/>
    <a:srgbClr val="3E3838"/>
    <a:srgbClr val="EF4624"/>
    <a:srgbClr val="004F9F"/>
    <a:srgbClr val="F8E0F8"/>
    <a:srgbClr val="831F82"/>
    <a:srgbClr val="D3ED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2915AA-31F7-48C1-AD24-373E7380E9E9}" v="236" dt="2022-07-18T04:22:54.4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50"/>
    <p:restoredTop sz="92431"/>
  </p:normalViewPr>
  <p:slideViewPr>
    <p:cSldViewPr snapToGrid="0">
      <p:cViewPr varScale="1">
        <p:scale>
          <a:sx n="95" d="100"/>
          <a:sy n="95" d="100"/>
        </p:scale>
        <p:origin x="948" y="72"/>
      </p:cViewPr>
      <p:guideLst>
        <p:guide orient="horz" pos="2184"/>
        <p:guide pos="3840"/>
        <p:guide orient="horz" pos="840"/>
        <p:guide pos="192"/>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viewProps" Target="viewProps.xml"/><Relationship Id="rId21" Type="http://schemas.openxmlformats.org/officeDocument/2006/relationships/slide" Target="slides/slide5.xml"/><Relationship Id="rId34" Type="http://schemas.openxmlformats.org/officeDocument/2006/relationships/slide" Target="slides/slide18.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17241379310345E-2"/>
          <c:y val="2.8017241379310345E-2"/>
          <c:w val="0.94396551724137934"/>
          <c:h val="0.94396551724137934"/>
        </c:manualLayout>
      </c:layout>
      <c:doughnutChart>
        <c:varyColors val="0"/>
        <c:ser>
          <c:idx val="0"/>
          <c:order val="0"/>
          <c:dPt>
            <c:idx val="0"/>
            <c:bubble3D val="0"/>
            <c:spPr>
              <a:solidFill>
                <a:schemeClr val="bg2"/>
              </a:solidFill>
              <a:ln>
                <a:noFill/>
              </a:ln>
            </c:spPr>
            <c:extLst>
              <c:ext xmlns:c16="http://schemas.microsoft.com/office/drawing/2014/chart" uri="{C3380CC4-5D6E-409C-BE32-E72D297353CC}">
                <c16:uniqueId val="{00000000-A195-4577-88D5-243C23C35A7E}"/>
              </c:ext>
            </c:extLst>
          </c:dPt>
          <c:dPt>
            <c:idx val="1"/>
            <c:bubble3D val="0"/>
            <c:spPr>
              <a:solidFill>
                <a:srgbClr val="808080"/>
              </a:solidFill>
              <a:ln>
                <a:noFill/>
              </a:ln>
            </c:spPr>
            <c:extLst>
              <c:ext xmlns:c16="http://schemas.microsoft.com/office/drawing/2014/chart" uri="{C3380CC4-5D6E-409C-BE32-E72D297353CC}">
                <c16:uniqueId val="{00000001-A195-4577-88D5-243C23C35A7E}"/>
              </c:ext>
            </c:extLst>
          </c:dPt>
          <c:dPt>
            <c:idx val="2"/>
            <c:bubble3D val="0"/>
            <c:spPr>
              <a:solidFill>
                <a:schemeClr val="accent3"/>
              </a:solidFill>
              <a:ln>
                <a:noFill/>
              </a:ln>
            </c:spPr>
            <c:extLst>
              <c:ext xmlns:c16="http://schemas.microsoft.com/office/drawing/2014/chart" uri="{C3380CC4-5D6E-409C-BE32-E72D297353CC}">
                <c16:uniqueId val="{00000002-A195-4577-88D5-243C23C35A7E}"/>
              </c:ext>
            </c:extLst>
          </c:dPt>
          <c:val>
            <c:numRef>
              <c:f>Sheet1!$A$1:$A$3</c:f>
              <c:numCache>
                <c:formatCode>General</c:formatCode>
                <c:ptCount val="3"/>
                <c:pt idx="0">
                  <c:v>72</c:v>
                </c:pt>
                <c:pt idx="1">
                  <c:v>10</c:v>
                </c:pt>
                <c:pt idx="2">
                  <c:v>18</c:v>
                </c:pt>
              </c:numCache>
            </c:numRef>
          </c:val>
          <c:extLst>
            <c:ext xmlns:c16="http://schemas.microsoft.com/office/drawing/2014/chart" uri="{C3380CC4-5D6E-409C-BE32-E72D297353CC}">
              <c16:uniqueId val="{00000003-A195-4577-88D5-243C23C35A7E}"/>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76519052523172E-2"/>
          <c:y val="2.7310924369747899E-2"/>
          <c:w val="0.9464469618949537"/>
          <c:h val="0.94537815126050417"/>
        </c:manualLayout>
      </c:layout>
      <c:barChart>
        <c:barDir val="col"/>
        <c:grouping val="stacked"/>
        <c:varyColors val="0"/>
        <c:ser>
          <c:idx val="0"/>
          <c:order val="0"/>
          <c:spPr>
            <a:solidFill>
              <a:srgbClr val="969696"/>
            </a:solidFill>
            <a:ln>
              <a:noFill/>
            </a:ln>
          </c:spPr>
          <c:invertIfNegative val="0"/>
          <c:val>
            <c:numRef>
              <c:f>Sheet1!$A$1:$B$1</c:f>
              <c:numCache>
                <c:formatCode>General</c:formatCode>
                <c:ptCount val="2"/>
                <c:pt idx="0">
                  <c:v>48</c:v>
                </c:pt>
                <c:pt idx="1">
                  <c:v>98</c:v>
                </c:pt>
              </c:numCache>
            </c:numRef>
          </c:val>
          <c:extLst>
            <c:ext xmlns:c16="http://schemas.microsoft.com/office/drawing/2014/chart" uri="{C3380CC4-5D6E-409C-BE32-E72D297353CC}">
              <c16:uniqueId val="{00000000-E8F1-3C45-BCBD-CED309463696}"/>
            </c:ext>
          </c:extLst>
        </c:ser>
        <c:dLbls>
          <c:showLegendKey val="0"/>
          <c:showVal val="0"/>
          <c:showCatName val="0"/>
          <c:showSerName val="0"/>
          <c:showPercent val="0"/>
          <c:showBubbleSize val="0"/>
        </c:dLbls>
        <c:gapWidth val="80"/>
        <c:overlap val="100"/>
        <c:axId val="257334528"/>
        <c:axId val="1"/>
      </c:barChart>
      <c:catAx>
        <c:axId val="2573345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8"/>
          <c:min val="0"/>
        </c:scaling>
        <c:delete val="1"/>
        <c:axPos val="l"/>
        <c:numFmt formatCode="General" sourceLinked="1"/>
        <c:majorTickMark val="out"/>
        <c:minorTickMark val="none"/>
        <c:tickLblPos val="nextTo"/>
        <c:crossAx val="25733452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92592592592591E-2"/>
          <c:y val="2.2423458387235879E-2"/>
          <c:w val="0.84375"/>
          <c:h val="0.95515308322552828"/>
        </c:manualLayout>
      </c:layout>
      <c:barChart>
        <c:barDir val="bar"/>
        <c:grouping val="stacked"/>
        <c:varyColors val="0"/>
        <c:ser>
          <c:idx val="0"/>
          <c:order val="0"/>
          <c:spPr>
            <a:solidFill>
              <a:srgbClr val="C0C0C0"/>
            </a:solidFill>
            <a:ln>
              <a:noFill/>
            </a:ln>
          </c:spPr>
          <c:invertIfNegative val="0"/>
          <c:dLbls>
            <c:dLbl>
              <c:idx val="0"/>
              <c:layout>
                <c:manualLayout>
                  <c:x val="0.25231481481481483"/>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D0-1F40-9D09-A73CF5E38EDA}"/>
                </c:ext>
              </c:extLst>
            </c:dLbl>
            <c:dLbl>
              <c:idx val="1"/>
              <c:layout>
                <c:manualLayout>
                  <c:x val="0.35127314814814814"/>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D0-1F40-9D09-A73CF5E38EDA}"/>
                </c:ext>
              </c:extLst>
            </c:dLbl>
            <c:dLbl>
              <c:idx val="2"/>
              <c:layout>
                <c:manualLayout>
                  <c:x val="0.28472222222222221"/>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D0-1F40-9D09-A73CF5E38EDA}"/>
                </c:ext>
              </c:extLst>
            </c:dLbl>
            <c:dLbl>
              <c:idx val="3"/>
              <c:layout>
                <c:manualLayout>
                  <c:x val="0.48495370370370372"/>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3D0-1F40-9D09-A73CF5E38E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1</c:v>
                </c:pt>
                <c:pt idx="1">
                  <c:v>504</c:v>
                </c:pt>
                <c:pt idx="2">
                  <c:v>387</c:v>
                </c:pt>
                <c:pt idx="3">
                  <c:v>738</c:v>
                </c:pt>
              </c:numCache>
            </c:numRef>
          </c:val>
          <c:extLst>
            <c:ext xmlns:c16="http://schemas.microsoft.com/office/drawing/2014/chart" uri="{C3380CC4-5D6E-409C-BE32-E72D297353CC}">
              <c16:uniqueId val="{00000004-13D0-1F40-9D09-A73CF5E38EDA}"/>
            </c:ext>
          </c:extLst>
        </c:ser>
        <c:dLbls>
          <c:showLegendKey val="0"/>
          <c:showVal val="0"/>
          <c:showCatName val="0"/>
          <c:showSerName val="0"/>
          <c:showPercent val="0"/>
          <c:showBubbleSize val="0"/>
        </c:dLbls>
        <c:gapWidth val="80"/>
        <c:overlap val="100"/>
        <c:axId val="257183312"/>
        <c:axId val="1"/>
      </c:barChart>
      <c:catAx>
        <c:axId val="2571833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38"/>
          <c:min val="0"/>
        </c:scaling>
        <c:delete val="1"/>
        <c:axPos val="t"/>
        <c:numFmt formatCode="General" sourceLinked="1"/>
        <c:majorTickMark val="out"/>
        <c:minorTickMark val="none"/>
        <c:tickLblPos val="nextTo"/>
        <c:crossAx val="25718331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992E28-BC29-E048-B316-30CDEC936B8B}" type="datetimeFigureOut">
              <a:rPr lang="en-US" smtClean="0"/>
              <a:t>7/17/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59B611-572A-884D-9009-F185403393A4}" type="slidenum">
              <a:rPr lang="en-US" smtClean="0"/>
              <a:t>‹#›</a:t>
            </a:fld>
            <a:endParaRPr lang="en-US"/>
          </a:p>
        </p:txBody>
      </p:sp>
    </p:spTree>
    <p:extLst>
      <p:ext uri="{BB962C8B-B14F-4D97-AF65-F5344CB8AC3E}">
        <p14:creationId xmlns:p14="http://schemas.microsoft.com/office/powerpoint/2010/main" val="6762876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7BE721-2C2C-5041-8AEA-87A41BA4944C}" type="datetimeFigureOut">
              <a:rPr lang="en-US" smtClean="0"/>
              <a:t>7/1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DA9585-6945-9347-A776-DE934A84F359}" type="slidenum">
              <a:rPr lang="en-US" smtClean="0"/>
              <a:t>‹#›</a:t>
            </a:fld>
            <a:endParaRPr lang="en-US"/>
          </a:p>
        </p:txBody>
      </p:sp>
    </p:spTree>
    <p:extLst>
      <p:ext uri="{BB962C8B-B14F-4D97-AF65-F5344CB8AC3E}">
        <p14:creationId xmlns:p14="http://schemas.microsoft.com/office/powerpoint/2010/main" val="1223091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DA9585-6945-9347-A776-DE934A84F359}" type="slidenum">
              <a:rPr lang="en-US" smtClean="0"/>
              <a:t>1</a:t>
            </a:fld>
            <a:endParaRPr lang="en-US"/>
          </a:p>
        </p:txBody>
      </p:sp>
    </p:spTree>
    <p:extLst>
      <p:ext uri="{BB962C8B-B14F-4D97-AF65-F5344CB8AC3E}">
        <p14:creationId xmlns:p14="http://schemas.microsoft.com/office/powerpoint/2010/main" val="608923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9</a:t>
            </a:fld>
            <a:endParaRPr lang="en-US" dirty="0"/>
          </a:p>
        </p:txBody>
      </p:sp>
    </p:spTree>
    <p:extLst>
      <p:ext uri="{BB962C8B-B14F-4D97-AF65-F5344CB8AC3E}">
        <p14:creationId xmlns:p14="http://schemas.microsoft.com/office/powerpoint/2010/main" val="1314265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4</a:t>
            </a:fld>
            <a:endParaRPr lang="en-US" dirty="0"/>
          </a:p>
        </p:txBody>
      </p:sp>
    </p:spTree>
    <p:extLst>
      <p:ext uri="{BB962C8B-B14F-4D97-AF65-F5344CB8AC3E}">
        <p14:creationId xmlns:p14="http://schemas.microsoft.com/office/powerpoint/2010/main" val="2682677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5</a:t>
            </a:fld>
            <a:endParaRPr lang="en-US" dirty="0"/>
          </a:p>
        </p:txBody>
      </p:sp>
    </p:spTree>
    <p:extLst>
      <p:ext uri="{BB962C8B-B14F-4D97-AF65-F5344CB8AC3E}">
        <p14:creationId xmlns:p14="http://schemas.microsoft.com/office/powerpoint/2010/main" val="3239337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81A7B96-6395-974C-8CE0-CFBF392BABB3}"/>
              </a:ext>
            </a:extLst>
          </p:cNvPr>
          <p:cNvSpPr>
            <a:spLocks noGrp="1" noChangeArrowheads="1"/>
          </p:cNvSpPr>
          <p:nvPr>
            <p:ph type="sldNum"/>
          </p:nvPr>
        </p:nvSpPr>
        <p:spPr>
          <a:ln/>
        </p:spPr>
        <p:txBody>
          <a:bodyPr/>
          <a:lstStyle/>
          <a:p>
            <a:fld id="{AB6B4314-01B7-DF41-8F4F-E14E3D8F1B71}" type="slidenum">
              <a:rPr lang="en-US" altLang="en-US"/>
              <a:pPr/>
              <a:t>16</a:t>
            </a:fld>
            <a:endParaRPr lang="en-US" altLang="en-US"/>
          </a:p>
        </p:txBody>
      </p:sp>
      <p:sp>
        <p:nvSpPr>
          <p:cNvPr id="7169" name="Text Box 1">
            <a:extLst>
              <a:ext uri="{FF2B5EF4-FFF2-40B4-BE49-F238E27FC236}">
                <a16:creationId xmlns:a16="http://schemas.microsoft.com/office/drawing/2014/main" id="{901110E0-44CB-5B4C-A4B4-452FCB89E2E7}"/>
              </a:ext>
            </a:extLst>
          </p:cNvPr>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170" name="Text Box 2">
            <a:extLst>
              <a:ext uri="{FF2B5EF4-FFF2-40B4-BE49-F238E27FC236}">
                <a16:creationId xmlns:a16="http://schemas.microsoft.com/office/drawing/2014/main" id="{D3683703-B92F-EA4F-9F71-C34C8E5632A7}"/>
              </a:ext>
            </a:extLst>
          </p:cNvPr>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30960348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8.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4.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5.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6.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3.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6.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8.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9.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9.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10.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5.xml"/></Relationships>
</file>

<file path=ppt/slideLayouts/_rels/slideLayout31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11.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98.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9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12.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1.xml"/></Relationships>
</file>

<file path=ppt/slideLayouts/_rels/slideLayout37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1.emf"/><Relationship Id="rId4" Type="http://schemas.openxmlformats.org/officeDocument/2006/relationships/oleObject" Target="../embeddings/oleObject19.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2.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8.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Slide - Fibre Optic ">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38"/>
          <a:stretch/>
        </p:blipFill>
        <p:spPr>
          <a:xfrm>
            <a:off x="0" y="15589"/>
            <a:ext cx="12192000" cy="4708829"/>
          </a:xfrm>
          <a:prstGeom prst="rect">
            <a:avLst/>
          </a:prstGeom>
        </p:spPr>
      </p:pic>
      <p:pic>
        <p:nvPicPr>
          <p:cNvPr id="24" name="Picture 23"/>
          <p:cNvPicPr>
            <a:picLocks noChangeAspect="1"/>
          </p:cNvPicPr>
          <p:nvPr userDrawn="1"/>
        </p:nvPicPr>
        <p:blipFill rotWithShape="1">
          <a:blip r:embed="rId3"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10" name="Rounded Rectangle 9"/>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11" name="Straight Connector 10"/>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2" name="Rounded Rectangle 11"/>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13" name="Straight Connector 12"/>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4" name="Rounded Rectangle 13"/>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TextBox 14"/>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16" name="Picture 15"/>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17" name="Straight Connector 16"/>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FRONT COVER SLIDE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FRONT COVER SUB HEADING | UPPERCASE ONLY | 18PT</a:t>
            </a:r>
          </a:p>
        </p:txBody>
      </p:sp>
      <p:sp>
        <p:nvSpPr>
          <p:cNvPr id="25" name="Rectangle 24"/>
          <p:cNvSpPr/>
          <p:nvPr userDrawn="1"/>
        </p:nvSpPr>
        <p:spPr>
          <a:xfrm>
            <a:off x="0" y="4730154"/>
            <a:ext cx="12191999" cy="282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6" name="Straight Connector 25"/>
          <p:cNvCxnSpPr/>
          <p:nvPr userDrawn="1"/>
        </p:nvCxnSpPr>
        <p:spPr>
          <a:xfrm>
            <a:off x="0" y="4715383"/>
            <a:ext cx="12192000" cy="0"/>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3" name="Picture 5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Tree>
    <p:extLst>
      <p:ext uri="{BB962C8B-B14F-4D97-AF65-F5344CB8AC3E}">
        <p14:creationId xmlns:p14="http://schemas.microsoft.com/office/powerpoint/2010/main" val="697785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Finance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5"/>
              </a:gs>
              <a:gs pos="100000">
                <a:schemeClr val="accent5">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FINANCE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FINANCE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Legal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1"/>
              </a:gs>
              <a:gs pos="99000">
                <a:schemeClr val="accent1">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LEGAL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LEGAL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 Strategy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3"/>
              </a:gs>
              <a:gs pos="100000">
                <a:schemeClr val="accent3">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STRATEGY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STRATEGY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 Orange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4159432"/>
            <a:ext cx="9939866" cy="529167"/>
          </a:xfrm>
          <a:prstGeom prst="rect">
            <a:avLst/>
          </a:prstGeom>
        </p:spPr>
        <p:txBody>
          <a:bodyPr lIns="0" tIns="0" rIns="0" bIns="0" anchor="b"/>
          <a:lstStyle>
            <a:lvl1pPr>
              <a:defRPr baseline="0"/>
            </a:lvl1pPr>
          </a:lstStyle>
          <a:p>
            <a:r>
              <a:rPr lang="en-US"/>
              <a:t>GENERAL DIVIDER | UPPERCASE ONLY | 32PT</a:t>
            </a:r>
          </a:p>
        </p:txBody>
      </p:sp>
      <p:sp>
        <p:nvSpPr>
          <p:cNvPr id="9" name="Text Placeholder 8"/>
          <p:cNvSpPr>
            <a:spLocks noGrp="1"/>
          </p:cNvSpPr>
          <p:nvPr>
            <p:ph type="body" sz="quarter" idx="11" hasCustomPrompt="1"/>
          </p:nvPr>
        </p:nvSpPr>
        <p:spPr>
          <a:xfrm>
            <a:off x="609599" y="5385516"/>
            <a:ext cx="9939867" cy="345184"/>
          </a:xfrm>
          <a:prstGeom prst="rect">
            <a:avLst/>
          </a:prstGeom>
        </p:spPr>
        <p:txBody>
          <a:bodyPr lIns="0" tIns="0" rIns="0" bIns="0"/>
          <a:lstStyle>
            <a:lvl1pPr>
              <a:defRPr sz="1800" baseline="0"/>
            </a:lvl1pPr>
          </a:lstStyle>
          <a:p>
            <a:pPr lvl="0"/>
            <a:r>
              <a:rPr lang="en-US"/>
              <a:t>GENERAL DIVIDER SUB HEADING | UPPERCASE ONLY | 18PT</a:t>
            </a:r>
          </a:p>
        </p:txBody>
      </p:sp>
      <p:sp>
        <p:nvSpPr>
          <p:cNvPr id="96" name="Rectangle 95"/>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7" name="Straight Connector 96"/>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8763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0050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 HR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72691002"/>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2"/>
                          </a:solidFill>
                        </a:rPr>
                        <a:t>INTRODUCTION. 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2"/>
                          </a:solidFill>
                        </a:rPr>
                        <a:t>FIRST TOPIC HERE</a:t>
                      </a:r>
                      <a:r>
                        <a:rPr lang="en-US" sz="1200" baseline="0">
                          <a:solidFill>
                            <a:schemeClr val="accent2"/>
                          </a:solidFill>
                        </a:rPr>
                        <a:t>.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endParaRPr lang="en-US" sz="1200" baseline="0">
                        <a:solidFill>
                          <a:schemeClr val="accent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2"/>
                          </a:solidFill>
                        </a:rPr>
                        <a:t>SECOND</a:t>
                      </a:r>
                      <a:r>
                        <a:rPr lang="en-US" sz="1200" baseline="0">
                          <a:solidFill>
                            <a:schemeClr val="accent2"/>
                          </a:solidFill>
                        </a:rPr>
                        <a:t> TOPIC HERE.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2"/>
                          </a:solidFill>
                        </a:rPr>
                        <a:t>THIRD TOPIC HERE. 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2"/>
                          </a:solidFill>
                        </a:rPr>
                        <a:t>FOURTH TOPIC HERE. 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2"/>
                          </a:solidFill>
                        </a:rPr>
                        <a:t>FIFTH TOPIC HERE. UPPERCASE</a:t>
                      </a:r>
                      <a:r>
                        <a:rPr lang="en-US" sz="1200" baseline="0">
                          <a:solidFill>
                            <a:schemeClr val="accent2"/>
                          </a:solidFill>
                        </a:rPr>
                        <a:t> ONLY. PURPLE. </a:t>
                      </a:r>
                      <a:r>
                        <a:rPr lang="en-US" sz="1200">
                          <a:solidFill>
                            <a:schemeClr val="accent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2"/>
                          </a:solidFill>
                        </a:rPr>
                        <a:t>SIXTH TOPIC HERE.</a:t>
                      </a:r>
                      <a:r>
                        <a:rPr lang="en-US" sz="1200" baseline="0">
                          <a:solidFill>
                            <a:schemeClr val="accent2"/>
                          </a:solidFill>
                        </a:rPr>
                        <a:t>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2"/>
                          </a:solidFill>
                        </a:rPr>
                        <a:t>SEVENTH</a:t>
                      </a:r>
                      <a:r>
                        <a:rPr lang="en-US" sz="1200" baseline="0">
                          <a:solidFill>
                            <a:schemeClr val="accent2"/>
                          </a:solidFill>
                        </a:rPr>
                        <a:t> TOPIC HERE.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HR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HR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 HR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77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 HR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 HR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2">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2"/>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7. HR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2">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 HR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179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37" name="Text Placeholder 5"/>
          <p:cNvSpPr>
            <a:spLocks noGrp="1"/>
          </p:cNvSpPr>
          <p:nvPr>
            <p:ph type="body" sz="quarter" idx="24" hasCustomPrompt="1"/>
          </p:nvPr>
        </p:nvSpPr>
        <p:spPr>
          <a:xfrm>
            <a:off x="1232815" y="3524598"/>
            <a:ext cx="1672617" cy="396240"/>
          </a:xfrm>
          <a:prstGeom prst="rect">
            <a:avLst/>
          </a:prstGeom>
          <a:solidFill>
            <a:schemeClr val="accent2">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38" name="Text Placeholder 5"/>
          <p:cNvSpPr>
            <a:spLocks noGrp="1"/>
          </p:cNvSpPr>
          <p:nvPr>
            <p:ph type="body" sz="quarter" idx="25" hasCustomPrompt="1"/>
          </p:nvPr>
        </p:nvSpPr>
        <p:spPr>
          <a:xfrm>
            <a:off x="3215559" y="3524598"/>
            <a:ext cx="1672617" cy="396240"/>
          </a:xfrm>
          <a:prstGeom prst="rect">
            <a:avLst/>
          </a:prstGeom>
          <a:solidFill>
            <a:schemeClr val="accent2">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39"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0"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1"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4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9. HR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0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2">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2">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0. HR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77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2">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2">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2">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2">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 HR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3. HR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 HR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5. HR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 HR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1452713722"/>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7. HR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1662159814"/>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8. HR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56233"/>
            <a:ext cx="9966660" cy="5866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9. HR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1. HR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2. HR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3. HR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47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2">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2">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2">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2">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2">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4. HR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648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2">
              <a:lumMod val="20000"/>
              <a:lumOff val="8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2">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2">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2">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5. HR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6. HR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52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7. HR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77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8. HR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9. HR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 Finance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812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56980608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5"/>
                          </a:solidFill>
                        </a:rPr>
                        <a:t>INTRODUCTION. 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5"/>
                          </a:solidFill>
                        </a:rPr>
                        <a:t>FIRST TOPIC HERE</a:t>
                      </a:r>
                      <a:r>
                        <a:rPr lang="en-US" sz="1200" baseline="0">
                          <a:solidFill>
                            <a:schemeClr val="accent5"/>
                          </a:solidFill>
                        </a:rPr>
                        <a:t>.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endParaRPr lang="en-US" sz="1200" baseline="0">
                        <a:solidFill>
                          <a:schemeClr val="accent5"/>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5"/>
                          </a:solidFill>
                        </a:rPr>
                        <a:t>SECOND</a:t>
                      </a:r>
                      <a:r>
                        <a:rPr lang="en-US" sz="1200" baseline="0">
                          <a:solidFill>
                            <a:schemeClr val="accent5"/>
                          </a:solidFill>
                        </a:rPr>
                        <a:t> TOPIC HERE.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5"/>
                          </a:solidFill>
                        </a:rPr>
                        <a:t>THIRD TOPIC HERE. 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5"/>
                          </a:solidFill>
                        </a:rPr>
                        <a:t>FOURTH TOPIC HERE. 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5"/>
                          </a:solidFill>
                        </a:rPr>
                        <a:t>FIFTH TOPIC HERE. UPPERCASE</a:t>
                      </a:r>
                      <a:r>
                        <a:rPr lang="en-US" sz="1200" baseline="0">
                          <a:solidFill>
                            <a:schemeClr val="accent5"/>
                          </a:solidFill>
                        </a:rPr>
                        <a:t> ONLY. GREEN. </a:t>
                      </a:r>
                      <a:r>
                        <a:rPr lang="en-US" sz="1200">
                          <a:solidFill>
                            <a:schemeClr val="accent5"/>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5"/>
                          </a:solidFill>
                        </a:rPr>
                        <a:t>SIXTH TOPIC HERE.</a:t>
                      </a:r>
                      <a:r>
                        <a:rPr lang="en-US" sz="1200" baseline="0">
                          <a:solidFill>
                            <a:schemeClr val="accent5"/>
                          </a:solidFill>
                        </a:rPr>
                        <a:t>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5"/>
                          </a:solidFill>
                        </a:rPr>
                        <a:t>SEVENTH</a:t>
                      </a:r>
                      <a:r>
                        <a:rPr lang="en-US" sz="1200" baseline="0">
                          <a:solidFill>
                            <a:schemeClr val="accent5"/>
                          </a:solidFill>
                        </a:rPr>
                        <a:t> TOPIC HERE.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Finance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Finance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 Finance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 Finance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 Finance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5">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5"/>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7. Finance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5">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5">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8. Finance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179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37" name="Text Placeholder 5"/>
          <p:cNvSpPr>
            <a:spLocks noGrp="1"/>
          </p:cNvSpPr>
          <p:nvPr>
            <p:ph type="body" sz="quarter" idx="24" hasCustomPrompt="1"/>
          </p:nvPr>
        </p:nvSpPr>
        <p:spPr>
          <a:xfrm>
            <a:off x="1232815" y="3524598"/>
            <a:ext cx="1672617" cy="396240"/>
          </a:xfrm>
          <a:prstGeom prst="rect">
            <a:avLst/>
          </a:prstGeom>
          <a:solidFill>
            <a:schemeClr val="accent5">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38" name="Text Placeholder 5"/>
          <p:cNvSpPr>
            <a:spLocks noGrp="1"/>
          </p:cNvSpPr>
          <p:nvPr>
            <p:ph type="body" sz="quarter" idx="25" hasCustomPrompt="1"/>
          </p:nvPr>
        </p:nvSpPr>
        <p:spPr>
          <a:xfrm>
            <a:off x="3215559" y="3524598"/>
            <a:ext cx="1672617" cy="396240"/>
          </a:xfrm>
          <a:prstGeom prst="rect">
            <a:avLst/>
          </a:prstGeom>
          <a:solidFill>
            <a:schemeClr val="accent5">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39" name="Text Placeholder 5"/>
          <p:cNvSpPr>
            <a:spLocks noGrp="1"/>
          </p:cNvSpPr>
          <p:nvPr>
            <p:ph type="body" sz="quarter" idx="26" hasCustomPrompt="1"/>
          </p:nvPr>
        </p:nvSpPr>
        <p:spPr>
          <a:xfrm>
            <a:off x="520801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TIME</a:t>
            </a:r>
          </a:p>
        </p:txBody>
      </p:sp>
      <p:sp>
        <p:nvSpPr>
          <p:cNvPr id="40"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1"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4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 Finance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5">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5">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0. Finance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85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5">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5">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5">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1. Finance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3. Finance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4. Finance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 Finance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6. Finance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1369383175"/>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7. Finance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640777326"/>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 Finance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9. Finance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1. Finance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2. Finance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3. Finance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28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5">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5">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5">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4. Finance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648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5">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5">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5">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5. Finance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6. Finance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66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7. Finance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8. Finance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9. Finance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 Legal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1460357707"/>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1"/>
                          </a:solidFill>
                        </a:rPr>
                        <a:t>INTRODUCTION. 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rPr>
                        <a:t>FIRST TOPIC HERE</a:t>
                      </a:r>
                      <a:r>
                        <a:rPr lang="en-US" sz="1200" baseline="0">
                          <a:solidFill>
                            <a:schemeClr val="accent1"/>
                          </a:solidFill>
                        </a:rPr>
                        <a:t>.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endParaRPr lang="en-US" sz="1200" baseline="0">
                        <a:solidFill>
                          <a:schemeClr val="accent1"/>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1"/>
                          </a:solidFill>
                        </a:rPr>
                        <a:t>SECOND</a:t>
                      </a:r>
                      <a:r>
                        <a:rPr lang="en-US" sz="1200" baseline="0">
                          <a:solidFill>
                            <a:schemeClr val="accent1"/>
                          </a:solidFill>
                        </a:rPr>
                        <a:t> TOPIC HERE.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1"/>
                          </a:solidFill>
                        </a:rPr>
                        <a:t>THIRD TOPIC HERE. 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1"/>
                          </a:solidFill>
                        </a:rPr>
                        <a:t>FOURTH TOPIC HERE. 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1"/>
                          </a:solidFill>
                        </a:rPr>
                        <a:t>FIFTH TOPIC HERE. UPPERCASE</a:t>
                      </a:r>
                      <a:r>
                        <a:rPr lang="en-US" sz="1200" baseline="0">
                          <a:solidFill>
                            <a:schemeClr val="accent1"/>
                          </a:solidFill>
                        </a:rPr>
                        <a:t> ONLY. BLUE. </a:t>
                      </a:r>
                      <a:r>
                        <a:rPr lang="en-US" sz="1200">
                          <a:solidFill>
                            <a:schemeClr val="accent1"/>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rPr>
                        <a:t>SIXTH TOPIC HERE.</a:t>
                      </a:r>
                      <a:r>
                        <a:rPr lang="en-US" sz="1200" baseline="0">
                          <a:solidFill>
                            <a:schemeClr val="accent1"/>
                          </a:solidFill>
                        </a:rPr>
                        <a:t>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1"/>
                          </a:solidFill>
                        </a:rPr>
                        <a:t>SEVENTH</a:t>
                      </a:r>
                      <a:r>
                        <a:rPr lang="en-US" sz="1200" baseline="0">
                          <a:solidFill>
                            <a:schemeClr val="accent1"/>
                          </a:solidFill>
                        </a:rPr>
                        <a:t> TOPIC HERE.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Legal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 Legal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 Legal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 Legal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 Legal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1">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7. Legal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220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1">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1">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8. Legal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37" name="Text Placeholder 5"/>
          <p:cNvSpPr>
            <a:spLocks noGrp="1"/>
          </p:cNvSpPr>
          <p:nvPr>
            <p:ph type="body" sz="quarter" idx="24" hasCustomPrompt="1"/>
          </p:nvPr>
        </p:nvSpPr>
        <p:spPr>
          <a:xfrm>
            <a:off x="1232815" y="3524598"/>
            <a:ext cx="1672617" cy="396240"/>
          </a:xfrm>
          <a:prstGeom prst="rect">
            <a:avLst/>
          </a:prstGeom>
          <a:solidFill>
            <a:schemeClr val="accent1">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38" name="Text Placeholder 5"/>
          <p:cNvSpPr>
            <a:spLocks noGrp="1"/>
          </p:cNvSpPr>
          <p:nvPr>
            <p:ph type="body" sz="quarter" idx="25" hasCustomPrompt="1"/>
          </p:nvPr>
        </p:nvSpPr>
        <p:spPr>
          <a:xfrm>
            <a:off x="3215559" y="3524598"/>
            <a:ext cx="1672617" cy="396240"/>
          </a:xfrm>
          <a:prstGeom prst="rect">
            <a:avLst/>
          </a:prstGeom>
          <a:solidFill>
            <a:schemeClr val="accent1">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39" name="Text Placeholder 5"/>
          <p:cNvSpPr>
            <a:spLocks noGrp="1"/>
          </p:cNvSpPr>
          <p:nvPr>
            <p:ph type="body" sz="quarter" idx="26" hasCustomPrompt="1"/>
          </p:nvPr>
        </p:nvSpPr>
        <p:spPr>
          <a:xfrm>
            <a:off x="5208012"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TIME</a:t>
            </a:r>
          </a:p>
        </p:txBody>
      </p:sp>
      <p:sp>
        <p:nvSpPr>
          <p:cNvPr id="40"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1"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4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Cover Slide - Market OpCo">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999" cy="4719045"/>
          </a:xfrm>
          <a:prstGeom prst="rect">
            <a:avLst/>
          </a:prstGeom>
        </p:spPr>
      </p:pic>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FRONT COVER SLIDE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FRONT COVER SUB HEADING | UPPERCASE ONLY | 18PT</a:t>
            </a:r>
          </a:p>
        </p:txBody>
      </p:sp>
      <p:pic>
        <p:nvPicPr>
          <p:cNvPr id="57" name="Picture 56"/>
          <p:cNvPicPr>
            <a:picLocks noChangeAspect="1"/>
          </p:cNvPicPr>
          <p:nvPr userDrawn="1"/>
        </p:nvPicPr>
        <p:blipFill rotWithShape="1">
          <a:blip r:embed="rId6"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116" name="Rectangle 115"/>
          <p:cNvSpPr/>
          <p:nvPr userDrawn="1"/>
        </p:nvSpPr>
        <p:spPr>
          <a:xfrm>
            <a:off x="0" y="4730154"/>
            <a:ext cx="12191999" cy="282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117" name="Straight Connector 116"/>
          <p:cNvCxnSpPr/>
          <p:nvPr userDrawn="1"/>
        </p:nvCxnSpPr>
        <p:spPr>
          <a:xfrm>
            <a:off x="0" y="4715383"/>
            <a:ext cx="12191999" cy="0"/>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9. Legal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1">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0. Legal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1">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1">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1">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1. Legal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3. Legal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4. Legal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5. Legal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6. Legal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5829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2039766064"/>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7. Legal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1372149650"/>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8. Legal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9. Legal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1. Legal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2. Legal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3. Legal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1">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1">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4. Legal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1">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1">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1">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5. Legal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6. Legal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7. Legal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8. Legal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9. Legal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655285000"/>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3"/>
                          </a:solidFill>
                        </a:rPr>
                        <a:t>INTRODUCTION.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FIRST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endParaRPr lang="en-US" sz="1200" baseline="0">
                        <a:solidFill>
                          <a:schemeClr val="accent3"/>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3"/>
                          </a:solidFill>
                        </a:rPr>
                        <a:t>SECOND</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3"/>
                          </a:solidFill>
                        </a:rPr>
                        <a:t>THIRD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3"/>
                          </a:solidFill>
                        </a:rPr>
                        <a:t>FOURTH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3"/>
                          </a:solidFill>
                        </a:rPr>
                        <a:t>FIFTH TOPIC HERE. 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SIXTH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3"/>
                          </a:solidFill>
                        </a:rPr>
                        <a:t>SEVENTH</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Strategy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Strategy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Strategy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 Strategy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 Strategy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3">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3"/>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7. Strategy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3">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3">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8. Strategy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51750"/>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42" name="Text Placeholder 5"/>
          <p:cNvSpPr>
            <a:spLocks noGrp="1"/>
          </p:cNvSpPr>
          <p:nvPr>
            <p:ph type="body" sz="quarter" idx="24" hasCustomPrompt="1"/>
          </p:nvPr>
        </p:nvSpPr>
        <p:spPr>
          <a:xfrm>
            <a:off x="1232815" y="3524598"/>
            <a:ext cx="1672617" cy="396240"/>
          </a:xfrm>
          <a:prstGeom prst="rect">
            <a:avLst/>
          </a:prstGeom>
          <a:solidFill>
            <a:schemeClr val="accent3">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43" name="Text Placeholder 5"/>
          <p:cNvSpPr>
            <a:spLocks noGrp="1"/>
          </p:cNvSpPr>
          <p:nvPr>
            <p:ph type="body" sz="quarter" idx="25" hasCustomPrompt="1"/>
          </p:nvPr>
        </p:nvSpPr>
        <p:spPr>
          <a:xfrm>
            <a:off x="3215559" y="3524598"/>
            <a:ext cx="1672617" cy="396240"/>
          </a:xfrm>
          <a:prstGeom prst="rect">
            <a:avLst/>
          </a:prstGeom>
          <a:solidFill>
            <a:schemeClr val="accent3">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44" name="Text Placeholder 5"/>
          <p:cNvSpPr>
            <a:spLocks noGrp="1"/>
          </p:cNvSpPr>
          <p:nvPr>
            <p:ph type="body" sz="quarter" idx="26" hasCustomPrompt="1"/>
          </p:nvPr>
        </p:nvSpPr>
        <p:spPr>
          <a:xfrm>
            <a:off x="5208012"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TIME</a:t>
            </a:r>
          </a:p>
        </p:txBody>
      </p:sp>
      <p:sp>
        <p:nvSpPr>
          <p:cNvPr id="45"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6"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9. Strategy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0. Strategy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1. Strategy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3. Strategy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4. Strategy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22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5. Strategy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6. Strategy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1078853184"/>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7. Strategy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1081031867"/>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8. Strategy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9. Strategy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1. Strategy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2. Strategy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3. Strategy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3">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3">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3">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3">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4. Strategy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3">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3">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3">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5. Strategy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248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6. Strategy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7. Strategy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8. Strategy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9. Strategy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6793929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5637157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498864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072066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6171706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9800544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6748796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2795508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91259009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7220192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1547674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83308066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359736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553414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9433652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90999347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70524267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0660869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4330747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06237761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1729699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4301314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680983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45143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Tree>
    <p:extLst>
      <p:ext uri="{BB962C8B-B14F-4D97-AF65-F5344CB8AC3E}">
        <p14:creationId xmlns:p14="http://schemas.microsoft.com/office/powerpoint/2010/main" val="215331206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03531924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0814381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a:p>
        </p:txBody>
      </p:sp>
      <p:sp>
        <p:nvSpPr>
          <p:cNvPr id="7" name="Footer Placeholder 2"/>
          <p:cNvSpPr>
            <a:spLocks noGrp="1"/>
          </p:cNvSpPr>
          <p:nvPr>
            <p:ph type="ftr" sz="quarter" idx="3"/>
          </p:nvPr>
        </p:nvSpPr>
        <p:spPr>
          <a:xfrm>
            <a:off x="8831790" y="6474295"/>
            <a:ext cx="2407710" cy="100027"/>
          </a:xfrm>
          <a:prstGeom prst="rect">
            <a:avLst/>
          </a:prstGeom>
        </p:spPr>
        <p:txBody>
          <a:bodyPr vert="horz" wrap="none" lIns="0" tIns="0" rIns="0" bIns="0" rtlCol="0" anchor="ctr">
            <a:spAutoFit/>
          </a:bodyPr>
          <a:lstStyle>
            <a:lvl1pPr algn="r">
              <a:defRPr sz="650">
                <a:solidFill>
                  <a:schemeClr val="tx1"/>
                </a:solidFill>
              </a:defRPr>
            </a:lvl1pPr>
          </a:lstStyle>
          <a:p>
            <a:r>
              <a:rPr lang="en-US"/>
              <a:t>LIBERTY LATIN AMERICA | CANTO 2022 | JULY 18</a:t>
            </a:r>
            <a:endParaRPr lang="en-CA"/>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a:p>
        </p:txBody>
      </p:sp>
    </p:spTree>
    <p:extLst>
      <p:ext uri="{BB962C8B-B14F-4D97-AF65-F5344CB8AC3E}">
        <p14:creationId xmlns:p14="http://schemas.microsoft.com/office/powerpoint/2010/main" val="193474687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a:t>LIBERTY LATIN AMERICA | CANTO 2022 | JULY 18</a:t>
            </a:r>
            <a:endParaRPr lang="en-CA"/>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a:p>
        </p:txBody>
      </p:sp>
    </p:spTree>
    <p:extLst>
      <p:ext uri="{BB962C8B-B14F-4D97-AF65-F5344CB8AC3E}">
        <p14:creationId xmlns:p14="http://schemas.microsoft.com/office/powerpoint/2010/main" val="18867509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3"/>
                          </a:solidFill>
                        </a:rPr>
                        <a:t>INTRODUCTION.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FIRST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endParaRPr lang="en-US" sz="1200" baseline="0">
                        <a:solidFill>
                          <a:schemeClr val="accent3"/>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3"/>
                          </a:solidFill>
                        </a:rPr>
                        <a:t>SECOND</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3"/>
                          </a:solidFill>
                        </a:rPr>
                        <a:t>THIRD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3"/>
                          </a:solidFill>
                        </a:rPr>
                        <a:t>FOURTH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3"/>
                          </a:solidFill>
                        </a:rPr>
                        <a:t>FIFTH TOPIC HERE. 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SIXTH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3"/>
                          </a:solidFill>
                        </a:rPr>
                        <a:t>SEVENTH</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20738278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Strategy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124041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3. Strategy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79516804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 Strategy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151412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 Strategy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582033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6. Strategy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3">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3"/>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666006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7. Strategy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3">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3">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7385669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8. Strategy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51750"/>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42" name="Text Placeholder 5"/>
          <p:cNvSpPr>
            <a:spLocks noGrp="1"/>
          </p:cNvSpPr>
          <p:nvPr>
            <p:ph type="body" sz="quarter" idx="24" hasCustomPrompt="1"/>
          </p:nvPr>
        </p:nvSpPr>
        <p:spPr>
          <a:xfrm>
            <a:off x="1232815" y="3524598"/>
            <a:ext cx="1672617" cy="396240"/>
          </a:xfrm>
          <a:prstGeom prst="rect">
            <a:avLst/>
          </a:prstGeom>
          <a:solidFill>
            <a:schemeClr val="accent3">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43" name="Text Placeholder 5"/>
          <p:cNvSpPr>
            <a:spLocks noGrp="1"/>
          </p:cNvSpPr>
          <p:nvPr>
            <p:ph type="body" sz="quarter" idx="25" hasCustomPrompt="1"/>
          </p:nvPr>
        </p:nvSpPr>
        <p:spPr>
          <a:xfrm>
            <a:off x="3215559" y="3524598"/>
            <a:ext cx="1672617" cy="396240"/>
          </a:xfrm>
          <a:prstGeom prst="rect">
            <a:avLst/>
          </a:prstGeom>
          <a:solidFill>
            <a:schemeClr val="accent3">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44" name="Text Placeholder 5"/>
          <p:cNvSpPr>
            <a:spLocks noGrp="1"/>
          </p:cNvSpPr>
          <p:nvPr>
            <p:ph type="body" sz="quarter" idx="26" hasCustomPrompt="1"/>
          </p:nvPr>
        </p:nvSpPr>
        <p:spPr>
          <a:xfrm>
            <a:off x="5208012"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TIME</a:t>
            </a:r>
          </a:p>
        </p:txBody>
      </p:sp>
      <p:sp>
        <p:nvSpPr>
          <p:cNvPr id="45"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6"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3947057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9. Strategy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56907542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0. Strategy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0026341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1. Strategy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6314867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3. Strategy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87810264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4. Strategy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22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462164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5. Strategy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1363631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6. Strategy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26264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7. Strategy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37147628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8. Strategy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93772833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9. Strategy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397778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1. Strategy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88526832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2. Strategy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54141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3. Strategy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3">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3">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3">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3">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367439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4. Strategy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3">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3">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3">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339465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5. Strategy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248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92018617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6. Strategy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0604064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7. Strategy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09402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7087D9-56E6-EB09-6020-C84007C6E88F}"/>
              </a:ext>
            </a:extLst>
          </p:cNvPr>
          <p:cNvGraphicFramePr>
            <a:graphicFrameLocks noChangeAspect="1"/>
          </p:cNvGraphicFramePr>
          <p:nvPr userDrawn="1">
            <p:custDataLst>
              <p:tags r:id="rId1"/>
            </p:custDataLst>
            <p:extLst>
              <p:ext uri="{D42A27DB-BD31-4B8C-83A1-F6EECF244321}">
                <p14:modId xmlns:p14="http://schemas.microsoft.com/office/powerpoint/2010/main" val="3340418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D7087D9-56E6-EB09-6020-C84007C6E88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73C6C63-9B43-9375-7102-473AA76A9861}"/>
              </a:ext>
            </a:extLst>
          </p:cNvPr>
          <p:cNvSpPr/>
          <p:nvPr userDrawn="1"/>
        </p:nvSpPr>
        <p:spPr>
          <a:xfrm>
            <a:off x="0" y="0"/>
            <a:ext cx="3822700" cy="673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62758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8. Strategy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2214185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9. Strategy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5683488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7591202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995394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7848532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88451900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74084655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9987123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073552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307387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0820426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99324538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2614394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4345304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6781865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28740273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4079791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9048586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3461352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764663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03290285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0111641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06800802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691641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6856352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335922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5553411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Tree>
    <p:extLst>
      <p:ext uri="{BB962C8B-B14F-4D97-AF65-F5344CB8AC3E}">
        <p14:creationId xmlns:p14="http://schemas.microsoft.com/office/powerpoint/2010/main" val="189864142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4542820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859484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3"/>
                          </a:solidFill>
                        </a:rPr>
                        <a:t>INTRODUCTION.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FIRST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endParaRPr lang="en-US" sz="1200" baseline="0">
                        <a:solidFill>
                          <a:schemeClr val="accent3"/>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3"/>
                          </a:solidFill>
                        </a:rPr>
                        <a:t>SECOND</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3"/>
                          </a:solidFill>
                        </a:rPr>
                        <a:t>THIRD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3"/>
                          </a:solidFill>
                        </a:rPr>
                        <a:t>FOURTH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3"/>
                          </a:solidFill>
                        </a:rPr>
                        <a:t>FIFTH TOPIC HERE. 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SIXTH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3"/>
                          </a:solidFill>
                        </a:rPr>
                        <a:t>SEVENTH</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7157721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Strategy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4232269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 Strategy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9481875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 Strategy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2733933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5. Strategy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7479583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6. Strategy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3">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3"/>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9638890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7. Strategy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3">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3">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03078798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8. Strategy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51750"/>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42" name="Text Placeholder 5"/>
          <p:cNvSpPr>
            <a:spLocks noGrp="1"/>
          </p:cNvSpPr>
          <p:nvPr>
            <p:ph type="body" sz="quarter" idx="24" hasCustomPrompt="1"/>
          </p:nvPr>
        </p:nvSpPr>
        <p:spPr>
          <a:xfrm>
            <a:off x="1232815" y="3524598"/>
            <a:ext cx="1672617" cy="396240"/>
          </a:xfrm>
          <a:prstGeom prst="rect">
            <a:avLst/>
          </a:prstGeom>
          <a:solidFill>
            <a:schemeClr val="accent3">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43" name="Text Placeholder 5"/>
          <p:cNvSpPr>
            <a:spLocks noGrp="1"/>
          </p:cNvSpPr>
          <p:nvPr>
            <p:ph type="body" sz="quarter" idx="25" hasCustomPrompt="1"/>
          </p:nvPr>
        </p:nvSpPr>
        <p:spPr>
          <a:xfrm>
            <a:off x="3215559" y="3524598"/>
            <a:ext cx="1672617" cy="396240"/>
          </a:xfrm>
          <a:prstGeom prst="rect">
            <a:avLst/>
          </a:prstGeom>
          <a:solidFill>
            <a:schemeClr val="accent3">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44" name="Text Placeholder 5"/>
          <p:cNvSpPr>
            <a:spLocks noGrp="1"/>
          </p:cNvSpPr>
          <p:nvPr>
            <p:ph type="body" sz="quarter" idx="26" hasCustomPrompt="1"/>
          </p:nvPr>
        </p:nvSpPr>
        <p:spPr>
          <a:xfrm>
            <a:off x="5208012"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TIME</a:t>
            </a:r>
          </a:p>
        </p:txBody>
      </p:sp>
      <p:sp>
        <p:nvSpPr>
          <p:cNvPr id="45"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6"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6012808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9. Strategy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521313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0. Strategy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3931795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1. Strategy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3485325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3. Strategy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7455464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4. Strategy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22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6908955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5. Strategy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22670348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6. Strategy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1472072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7. Strategy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77014139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8. Strategy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1139131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9. Strategy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3836946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1. Strategy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8168544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2. Strategy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85575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3. Strategy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3">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3">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3">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3">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4169016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4. Strategy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3">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3">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3">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90021299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5. Strategy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248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39163197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6. Strategy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2037907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7. Strategy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5137981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8. Strategy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7756870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9. Strategy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1875171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598610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9009636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773145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3309762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4399690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02924589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3143667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8133517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9705195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3298299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6481065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1736521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407277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1783583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3750319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9177268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686956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6427915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1795639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5977604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7489079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79679895"/>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068420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8686607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5680360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Tree>
    <p:extLst>
      <p:ext uri="{BB962C8B-B14F-4D97-AF65-F5344CB8AC3E}">
        <p14:creationId xmlns:p14="http://schemas.microsoft.com/office/powerpoint/2010/main" val="70479991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998533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9337355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a:t>LIBERTY LATIN AMERICA | CANTO 2022 | JULY 18</a:t>
            </a:r>
            <a:endParaRPr lang="en-CA"/>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a:p>
        </p:txBody>
      </p:sp>
    </p:spTree>
    <p:extLst>
      <p:ext uri="{BB962C8B-B14F-4D97-AF65-F5344CB8AC3E}">
        <p14:creationId xmlns:p14="http://schemas.microsoft.com/office/powerpoint/2010/main" val="275034788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8322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cSld name="Blank">
    <p:bg>
      <p:bgPr>
        <a:gradFill flip="none" rotWithShape="1">
          <a:gsLst>
            <a:gs pos="0">
              <a:schemeClr val="accent6">
                <a:lumMod val="0"/>
                <a:lumOff val="100000"/>
              </a:schemeClr>
            </a:gs>
            <a:gs pos="54000">
              <a:schemeClr val="accent6">
                <a:lumMod val="0"/>
                <a:lumOff val="100000"/>
                <a:alpha val="16000"/>
              </a:schemeClr>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7219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4. LLA Slide - Large Bold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Arial MT Light"/>
              <a:sym typeface="Arial MT Light"/>
            </a:endParaRPr>
          </a:p>
        </p:txBody>
      </p:sp>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ABOUT LLA</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baseline="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UR OPERATIONS</a:t>
            </a:r>
          </a:p>
        </p:txBody>
      </p:sp>
    </p:spTree>
    <p:extLst>
      <p:ext uri="{BB962C8B-B14F-4D97-AF65-F5344CB8AC3E}">
        <p14:creationId xmlns:p14="http://schemas.microsoft.com/office/powerpoint/2010/main" val="304911243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4_4. LLA Slide - Large Bold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400" b="0" i="0" baseline="0">
              <a:latin typeface="Arial MT Light"/>
              <a:sym typeface="Arial MT Light"/>
            </a:endParaRPr>
          </a:p>
        </p:txBody>
      </p:sp>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ABOUT LLA</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baseline="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ORPORATE VIDEO</a:t>
            </a:r>
          </a:p>
        </p:txBody>
      </p:sp>
      <p:sp>
        <p:nvSpPr>
          <p:cNvPr id="20" name="Picture Placeholder 19"/>
          <p:cNvSpPr>
            <a:spLocks noGrp="1"/>
          </p:cNvSpPr>
          <p:nvPr>
            <p:ph type="pic" sz="quarter" idx="10" hasCustomPrompt="1"/>
          </p:nvPr>
        </p:nvSpPr>
        <p:spPr>
          <a:xfrm>
            <a:off x="2479229" y="2438369"/>
            <a:ext cx="6725541" cy="2304547"/>
          </a:xfrm>
          <a:prstGeom prst="rect">
            <a:avLst/>
          </a:prstGeom>
        </p:spPr>
        <p:txBody>
          <a:bodyPr/>
          <a:lstStyle>
            <a:lvl1pPr>
              <a:defRPr baseline="0"/>
            </a:lvl1pPr>
          </a:lstStyle>
          <a:p>
            <a:r>
              <a:rPr lang="es-PR"/>
              <a:t>INSERT CORPORATE VIDEO</a:t>
            </a:r>
          </a:p>
          <a:p>
            <a:endParaRPr lang="es-PR"/>
          </a:p>
        </p:txBody>
      </p:sp>
    </p:spTree>
    <p:extLst>
      <p:ext uri="{BB962C8B-B14F-4D97-AF65-F5344CB8AC3E}">
        <p14:creationId xmlns:p14="http://schemas.microsoft.com/office/powerpoint/2010/main" val="30511745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828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 LLA Slide - Large Bol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B546A7-1C5A-46CC-A7AB-B931EE436B76}"/>
              </a:ext>
            </a:extLst>
          </p:cNvPr>
          <p:cNvGraphicFramePr>
            <a:graphicFrameLocks noChangeAspect="1"/>
          </p:cNvGraphicFramePr>
          <p:nvPr userDrawn="1">
            <p:custDataLst>
              <p:tags r:id="rId1"/>
            </p:custDataLst>
            <p:extLst>
              <p:ext uri="{D42A27DB-BD31-4B8C-83A1-F6EECF244321}">
                <p14:modId xmlns:p14="http://schemas.microsoft.com/office/powerpoint/2010/main" val="21117387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a:extLst>
                          <a:ext uri="{FF2B5EF4-FFF2-40B4-BE49-F238E27FC236}">
                            <a16:creationId xmlns:a16="http://schemas.microsoft.com/office/drawing/2014/main" id="{A3B546A7-1C5A-46CC-A7AB-B931EE436B76}"/>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Text Placeholder 28"/>
          <p:cNvSpPr>
            <a:spLocks noGrp="1"/>
          </p:cNvSpPr>
          <p:nvPr>
            <p:ph type="body" sz="quarter" idx="16" hasCustomPrompt="1"/>
          </p:nvPr>
        </p:nvSpPr>
        <p:spPr>
          <a:xfrm>
            <a:off x="858549" y="1810855"/>
            <a:ext cx="10249719" cy="4380026"/>
          </a:xfrm>
          <a:prstGeom prst="rect">
            <a:avLst/>
          </a:prstGeom>
        </p:spPr>
        <p:txBody>
          <a:bodyPr/>
          <a:lstStyle>
            <a:lvl1pPr marL="0" indent="0">
              <a:buNone/>
              <a:defRPr sz="30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dirty="0"/>
              <a:t>Use this to create large bold text statements. Use ‘Function Color’ and different weight of text to create interest. Lorem ipsum dolor sit </a:t>
            </a:r>
            <a:r>
              <a:rPr lang="en-US" dirty="0" err="1"/>
              <a:t>amet</a:t>
            </a:r>
            <a:r>
              <a:rPr lang="en-US" dirty="0"/>
              <a:t>, </a:t>
            </a:r>
            <a:r>
              <a:rPr lang="en-US" dirty="0" err="1"/>
              <a:t>nonumy</a:t>
            </a:r>
            <a:r>
              <a:rPr lang="en-US" dirty="0"/>
              <a:t> </a:t>
            </a:r>
            <a:r>
              <a:rPr lang="en-US" dirty="0" err="1"/>
              <a:t>mucius</a:t>
            </a:r>
            <a:r>
              <a:rPr lang="en-US" dirty="0"/>
              <a:t> </a:t>
            </a:r>
            <a:r>
              <a:rPr lang="en-US" dirty="0" err="1"/>
              <a:t>dissentiunt</a:t>
            </a:r>
            <a:r>
              <a:rPr lang="en-US" dirty="0"/>
              <a:t> </a:t>
            </a:r>
            <a:r>
              <a:rPr lang="en-US" dirty="0" err="1"/>
              <a:t>mei</a:t>
            </a:r>
            <a:r>
              <a:rPr lang="en-US" dirty="0"/>
              <a:t> ad. Magna </a:t>
            </a:r>
            <a:r>
              <a:rPr lang="en-US" dirty="0" err="1"/>
              <a:t>omnes</a:t>
            </a:r>
            <a:r>
              <a:rPr lang="en-US" dirty="0"/>
              <a:t> </a:t>
            </a:r>
            <a:r>
              <a:rPr lang="en-US" dirty="0" err="1"/>
              <a:t>saperet</a:t>
            </a:r>
            <a:r>
              <a:rPr lang="en-US" dirty="0"/>
              <a:t> </a:t>
            </a:r>
            <a:r>
              <a:rPr lang="en-US" dirty="0" err="1"/>
              <a:t>ea</a:t>
            </a:r>
            <a:r>
              <a:rPr lang="en-US" dirty="0"/>
              <a:t> duo. Mea </a:t>
            </a:r>
            <a:r>
              <a:rPr lang="en-US" dirty="0" err="1"/>
              <a:t>appareat</a:t>
            </a:r>
            <a:r>
              <a:rPr lang="en-US" dirty="0"/>
              <a:t> </a:t>
            </a:r>
            <a:r>
              <a:rPr lang="en-US" dirty="0" err="1"/>
              <a:t>ocurreret</a:t>
            </a:r>
            <a:r>
              <a:rPr lang="en-US" dirty="0"/>
              <a:t> </a:t>
            </a:r>
            <a:r>
              <a:rPr lang="en-US" dirty="0" err="1"/>
              <a:t>vertitur</a:t>
            </a:r>
            <a:r>
              <a:rPr lang="en-US" dirty="0"/>
              <a:t> et, </a:t>
            </a:r>
            <a:r>
              <a:rPr lang="en-US" dirty="0" err="1"/>
              <a:t>eum</a:t>
            </a:r>
            <a:r>
              <a:rPr lang="en-US" dirty="0"/>
              <a:t> et </a:t>
            </a:r>
            <a:r>
              <a:rPr lang="en-US" dirty="0" err="1"/>
              <a:t>aeque</a:t>
            </a:r>
            <a:r>
              <a:rPr lang="en-US" dirty="0"/>
              <a:t> </a:t>
            </a:r>
            <a:r>
              <a:rPr lang="en-US" dirty="0" err="1"/>
              <a:t>quidam</a:t>
            </a:r>
            <a:r>
              <a:rPr lang="en-US" dirty="0"/>
              <a:t> </a:t>
            </a:r>
            <a:r>
              <a:rPr lang="en-US" dirty="0" err="1"/>
              <a:t>mollis</a:t>
            </a:r>
            <a:r>
              <a:rPr lang="en-US" dirty="0"/>
              <a:t>. An </a:t>
            </a:r>
            <a:r>
              <a:rPr lang="en-US" dirty="0" err="1"/>
              <a:t>vidit</a:t>
            </a:r>
            <a:r>
              <a:rPr lang="en-US" dirty="0"/>
              <a:t> </a:t>
            </a:r>
            <a:r>
              <a:rPr lang="en-US" dirty="0" err="1"/>
              <a:t>putent</a:t>
            </a:r>
            <a:r>
              <a:rPr lang="en-US" dirty="0"/>
              <a:t> </a:t>
            </a:r>
            <a:r>
              <a:rPr lang="en-US" dirty="0" err="1"/>
              <a:t>docendi</a:t>
            </a:r>
            <a:r>
              <a:rPr lang="en-US" dirty="0"/>
              <a:t> vim, duo at </a:t>
            </a:r>
            <a:r>
              <a:rPr lang="en-US" dirty="0" err="1"/>
              <a:t>essent</a:t>
            </a:r>
            <a:r>
              <a:rPr lang="en-US" dirty="0"/>
              <a:t> </a:t>
            </a:r>
            <a:r>
              <a:rPr lang="en-US" dirty="0" err="1"/>
              <a:t>electram</a:t>
            </a:r>
            <a:r>
              <a:rPr lang="en-US" dirty="0"/>
              <a:t>.</a:t>
            </a:r>
          </a:p>
        </p:txBody>
      </p:sp>
      <p:sp>
        <p:nvSpPr>
          <p:cNvPr id="41" name="Title 1"/>
          <p:cNvSpPr>
            <a:spLocks noGrp="1"/>
          </p:cNvSpPr>
          <p:nvPr>
            <p:ph type="ctrTitle" hasCustomPrompt="1"/>
          </p:nvPr>
        </p:nvSpPr>
        <p:spPr>
          <a:xfrm>
            <a:off x="415832" y="406400"/>
            <a:ext cx="9419049" cy="546166"/>
          </a:xfrm>
          <a:prstGeom prst="rect">
            <a:avLst/>
          </a:prstGeom>
        </p:spPr>
        <p:txBody>
          <a:bodyPr vert="horz" lIns="0" tIns="0" rIns="0" bIns="0" anchor="t">
            <a:normAutofit/>
          </a:bodyPr>
          <a:lstStyle>
            <a:lvl1pPr algn="l">
              <a:defRPr sz="2000" b="0" i="0" baseline="0">
                <a:solidFill>
                  <a:schemeClr val="tx1"/>
                </a:solidFill>
                <a:latin typeface="Arial MT Light" charset="0"/>
                <a:ea typeface="Arial MT Light" charset="0"/>
                <a:cs typeface="Arial MT Light" charset="0"/>
              </a:defRPr>
            </a:lvl1pPr>
          </a:lstStyle>
          <a:p>
            <a:r>
              <a:rPr lang="en-US" dirty="0"/>
              <a:t>CLICK TO EDIT HEADING TEXT. UPPERCASE ONLY. 20PT</a:t>
            </a:r>
            <a:br>
              <a:rPr lang="en-US" dirty="0"/>
            </a:br>
            <a:r>
              <a:rPr lang="en-US" dirty="0"/>
              <a:t>LARGE BOLD TEXT FOR CREATIVE INTEREST.</a:t>
            </a:r>
          </a:p>
        </p:txBody>
      </p:sp>
      <p:sp>
        <p:nvSpPr>
          <p:cNvPr id="43" name="Slide Number Placeholder 34"/>
          <p:cNvSpPr>
            <a:spLocks noGrp="1"/>
          </p:cNvSpPr>
          <p:nvPr>
            <p:ph type="sldNum" sz="quarter" idx="4"/>
          </p:nvPr>
        </p:nvSpPr>
        <p:spPr>
          <a:xfrm>
            <a:off x="11318258" y="6591300"/>
            <a:ext cx="562001" cy="230746"/>
          </a:xfrm>
          <a:prstGeom prst="rect">
            <a:avLst/>
          </a:prstGeom>
        </p:spPr>
        <p:txBody>
          <a:bodyPr anchor="ctr"/>
          <a:lstStyle>
            <a:lvl1pPr algn="r">
              <a:defRPr sz="1100">
                <a:solidFill>
                  <a:schemeClr val="bg1"/>
                </a:solidFill>
              </a:defRPr>
            </a:lvl1pPr>
          </a:lstStyle>
          <a:p>
            <a:fld id="{496097A3-845D-4C79-9B10-713A18711759}" type="slidenum">
              <a:rPr lang="en-US" smtClean="0"/>
              <a:pPr/>
              <a:t>‹#›</a:t>
            </a:fld>
            <a:endParaRPr lang="en-US" dirty="0"/>
          </a:p>
        </p:txBody>
      </p:sp>
      <p:sp>
        <p:nvSpPr>
          <p:cNvPr id="44" name="Date Placeholder 32"/>
          <p:cNvSpPr>
            <a:spLocks noGrp="1"/>
          </p:cNvSpPr>
          <p:nvPr>
            <p:ph type="dt" sz="half" idx="2"/>
          </p:nvPr>
        </p:nvSpPr>
        <p:spPr>
          <a:xfrm>
            <a:off x="8348980" y="6591300"/>
            <a:ext cx="2971800" cy="241300"/>
          </a:xfrm>
          <a:prstGeom prst="rect">
            <a:avLst/>
          </a:prstGeom>
        </p:spPr>
        <p:txBody>
          <a:bodyPr anchor="ctr"/>
          <a:lstStyle>
            <a:lvl1pPr>
              <a:defRPr sz="600">
                <a:solidFill>
                  <a:schemeClr val="bg1"/>
                </a:solidFill>
              </a:defRPr>
            </a:lvl1pPr>
          </a:lstStyle>
          <a:p>
            <a:pPr algn="r"/>
            <a:endParaRPr lang="en-US" dirty="0"/>
          </a:p>
        </p:txBody>
      </p:sp>
      <p:sp>
        <p:nvSpPr>
          <p:cNvPr id="8" name="Subtitle 2"/>
          <p:cNvSpPr>
            <a:spLocks noGrp="1"/>
          </p:cNvSpPr>
          <p:nvPr>
            <p:ph type="subTitle" idx="1" hasCustomPrompt="1"/>
          </p:nvPr>
        </p:nvSpPr>
        <p:spPr>
          <a:xfrm>
            <a:off x="415832" y="1000047"/>
            <a:ext cx="9419049"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 HEADING. UPPERCASE ONLY. 14PT</a:t>
            </a:r>
          </a:p>
        </p:txBody>
      </p:sp>
    </p:spTree>
    <p:extLst>
      <p:ext uri="{BB962C8B-B14F-4D97-AF65-F5344CB8AC3E}">
        <p14:creationId xmlns:p14="http://schemas.microsoft.com/office/powerpoint/2010/main" val="10542056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7. LLA Slide 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30D835-7E8D-B384-3092-A2E2ABEC5A19}"/>
              </a:ext>
            </a:extLst>
          </p:cNvPr>
          <p:cNvGraphicFramePr>
            <a:graphicFrameLocks noChangeAspect="1"/>
          </p:cNvGraphicFramePr>
          <p:nvPr userDrawn="1">
            <p:custDataLst>
              <p:tags r:id="rId1"/>
            </p:custDataLst>
            <p:extLst>
              <p:ext uri="{D42A27DB-BD31-4B8C-83A1-F6EECF244321}">
                <p14:modId xmlns:p14="http://schemas.microsoft.com/office/powerpoint/2010/main" val="1234494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3">
            <a:extLst>
              <a:ext uri="{FF2B5EF4-FFF2-40B4-BE49-F238E27FC236}">
                <a16:creationId xmlns:a16="http://schemas.microsoft.com/office/drawing/2014/main" id="{BAC9E3CC-97F3-42E5-8BFD-988010DC22BB}"/>
              </a:ext>
            </a:extLst>
          </p:cNvPr>
          <p:cNvSpPr>
            <a:spLocks noGrp="1"/>
          </p:cNvSpPr>
          <p:nvPr>
            <p:ph type="ftr" sz="quarter" idx="3"/>
          </p:nvPr>
        </p:nvSpPr>
        <p:spPr>
          <a:xfrm>
            <a:off x="207599" y="6596252"/>
            <a:ext cx="5634401" cy="230746"/>
          </a:xfrm>
          <a:prstGeom prst="rect">
            <a:avLst/>
          </a:prstGeom>
        </p:spPr>
        <p:txBody>
          <a:bodyPr anchor="ctr"/>
          <a:lstStyle>
            <a:lvl1pPr>
              <a:defRPr sz="1000" b="1">
                <a:solidFill>
                  <a:schemeClr val="tx1"/>
                </a:solidFill>
              </a:defRPr>
            </a:lvl1pPr>
          </a:lstStyle>
          <a:p>
            <a:r>
              <a:rPr lang="en-US"/>
              <a:t>LIBERTY LATIN AMERICA | CANTO 2022 | JULY 18</a:t>
            </a:r>
          </a:p>
        </p:txBody>
      </p:sp>
      <p:sp>
        <p:nvSpPr>
          <p:cNvPr id="5" name="Slide Number Placeholder 34">
            <a:extLst>
              <a:ext uri="{FF2B5EF4-FFF2-40B4-BE49-F238E27FC236}">
                <a16:creationId xmlns:a16="http://schemas.microsoft.com/office/drawing/2014/main" id="{A68B70BC-6AE7-4A25-BCCA-CE3AA55373B2}"/>
              </a:ext>
            </a:extLst>
          </p:cNvPr>
          <p:cNvSpPr>
            <a:spLocks noGrp="1"/>
          </p:cNvSpPr>
          <p:nvPr>
            <p:ph type="sldNum" sz="quarter" idx="4"/>
          </p:nvPr>
        </p:nvSpPr>
        <p:spPr>
          <a:xfrm>
            <a:off x="11579962" y="6591300"/>
            <a:ext cx="421501" cy="230746"/>
          </a:xfrm>
          <a:prstGeom prst="rect">
            <a:avLst/>
          </a:prstGeom>
        </p:spPr>
        <p:txBody>
          <a:bodyPr anchor="ctr"/>
          <a:lstStyle>
            <a:lvl1pPr algn="r">
              <a:defRPr sz="1000" b="1">
                <a:solidFill>
                  <a:schemeClr val="tx1"/>
                </a:solidFill>
              </a:defRPr>
            </a:lvl1pPr>
          </a:lstStyle>
          <a:p>
            <a:fld id="{496097A3-845D-4C79-9B10-713A18711759}" type="slidenum">
              <a:rPr lang="en-US" smtClean="0"/>
              <a:pPr/>
              <a:t>‹#›</a:t>
            </a:fld>
            <a:endParaRPr lang="en-US"/>
          </a:p>
        </p:txBody>
      </p:sp>
    </p:spTree>
    <p:extLst>
      <p:ext uri="{BB962C8B-B14F-4D97-AF65-F5344CB8AC3E}">
        <p14:creationId xmlns:p14="http://schemas.microsoft.com/office/powerpoint/2010/main" val="27752259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4. LLA Slide - Large Bold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026846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5" name="Object 1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Arial MT Light"/>
              <a:sym typeface="Arial MT Light"/>
            </a:endParaRP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solidFill>
                  <a:schemeClr val="tx1"/>
                </a:solidFill>
              </a:defRPr>
            </a:lvl1pPr>
          </a:lstStyle>
          <a:p>
            <a:r>
              <a:rPr lang="en-US"/>
              <a:t>LIBERTY LATIN AMERICA | CANTO 2022 | JULY 18</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tx1"/>
                </a:solidFill>
              </a:defRPr>
            </a:lvl1pPr>
          </a:lstStyle>
          <a:p>
            <a:fld id="{496097A3-845D-4C79-9B10-713A18711759}" type="slidenum">
              <a:rPr lang="en-US" smtClean="0"/>
              <a:pPr/>
              <a:t>‹#›</a:t>
            </a:fld>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baseline="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UR OPERATIONS</a:t>
            </a:r>
          </a:p>
        </p:txBody>
      </p:sp>
    </p:spTree>
    <p:extLst>
      <p:ext uri="{BB962C8B-B14F-4D97-AF65-F5344CB8AC3E}">
        <p14:creationId xmlns:p14="http://schemas.microsoft.com/office/powerpoint/2010/main" val="37559062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Orange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bg2"/>
              </a:gs>
              <a:gs pos="100000">
                <a:schemeClr val="bg2">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GENERAL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GENERAL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6" name="Rectangle 95"/>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7" name="Straight Connector 96"/>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HR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2"/>
              </a:gs>
              <a:gs pos="100000">
                <a:schemeClr val="accent2">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HR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HR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CANTO 2022 | JULY 18</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29" Type="http://schemas.openxmlformats.org/officeDocument/2006/relationships/tags" Target="../tags/tag9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32" Type="http://schemas.openxmlformats.org/officeDocument/2006/relationships/image" Target="../media/image26.png"/><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theme" Target="../theme/theme10.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31" Type="http://schemas.openxmlformats.org/officeDocument/2006/relationships/image" Target="../media/image28.emf"/><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 Id="rId30" Type="http://schemas.openxmlformats.org/officeDocument/2006/relationships/oleObject" Target="../embeddings/oleObject14.bin"/></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image" Target="../media/image26.png"/><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theme" Target="../theme/theme11.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image" Target="../media/image29.emf"/><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oleObject" Target="../embeddings/oleObject15.bin"/><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tags" Target="../tags/tag97.xml"/><Relationship Id="rId8" Type="http://schemas.openxmlformats.org/officeDocument/2006/relationships/slideLayout" Target="../slideLayouts/slideLayout33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image" Target="../media/image15.png"/><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theme" Target="../theme/theme12.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image" Target="../media/image30.emf"/><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oleObject" Target="../embeddings/oleObject16.bin"/><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tags" Target="../tags/tag100.xml"/><Relationship Id="rId8" Type="http://schemas.openxmlformats.org/officeDocument/2006/relationships/slideLayout" Target="../slideLayouts/slideLayout365.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slideLayout" Target="../slideLayouts/slideLayout388.xml"/><Relationship Id="rId7" Type="http://schemas.openxmlformats.org/officeDocument/2006/relationships/oleObject" Target="../embeddings/oleObject17.bin"/><Relationship Id="rId2" Type="http://schemas.openxmlformats.org/officeDocument/2006/relationships/slideLayout" Target="../slideLayouts/slideLayout387.xml"/><Relationship Id="rId1" Type="http://schemas.openxmlformats.org/officeDocument/2006/relationships/slideLayout" Target="../slideLayouts/slideLayout386.xml"/><Relationship Id="rId6" Type="http://schemas.openxmlformats.org/officeDocument/2006/relationships/tags" Target="../tags/tag103.xml"/><Relationship Id="rId5" Type="http://schemas.openxmlformats.org/officeDocument/2006/relationships/theme" Target="../theme/theme13.xml"/><Relationship Id="rId4" Type="http://schemas.openxmlformats.org/officeDocument/2006/relationships/slideLayout" Target="../slideLayouts/slideLayout38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3.png"/><Relationship Id="rId5" Type="http://schemas.openxmlformats.org/officeDocument/2006/relationships/slideLayout" Target="../slideLayouts/slideLayout12.xml"/><Relationship Id="rId10" Type="http://schemas.openxmlformats.org/officeDocument/2006/relationships/image" Target="../media/image12.emf"/><Relationship Id="rId4" Type="http://schemas.openxmlformats.org/officeDocument/2006/relationships/slideLayout" Target="../slideLayouts/slideLayout11.xml"/><Relationship Id="rId9"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30.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84" Type="http://schemas.openxmlformats.org/officeDocument/2006/relationships/slideLayout" Target="../slideLayouts/slideLayout97.xml"/><Relationship Id="rId89" Type="http://schemas.openxmlformats.org/officeDocument/2006/relationships/slideLayout" Target="../slideLayouts/slideLayout102.xml"/><Relationship Id="rId112" Type="http://schemas.openxmlformats.org/officeDocument/2006/relationships/slideLayout" Target="../slideLayouts/slideLayout125.xml"/><Relationship Id="rId16" Type="http://schemas.openxmlformats.org/officeDocument/2006/relationships/slideLayout" Target="../slideLayouts/slideLayout29.xml"/><Relationship Id="rId107" Type="http://schemas.openxmlformats.org/officeDocument/2006/relationships/slideLayout" Target="../slideLayouts/slideLayout120.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slideLayout" Target="../slideLayouts/slideLayout92.xml"/><Relationship Id="rId102" Type="http://schemas.openxmlformats.org/officeDocument/2006/relationships/slideLayout" Target="../slideLayouts/slideLayout115.xml"/><Relationship Id="rId123" Type="http://schemas.openxmlformats.org/officeDocument/2006/relationships/slideLayout" Target="../slideLayouts/slideLayout136.xml"/><Relationship Id="rId128" Type="http://schemas.openxmlformats.org/officeDocument/2006/relationships/image" Target="../media/image14.emf"/><Relationship Id="rId5" Type="http://schemas.openxmlformats.org/officeDocument/2006/relationships/slideLayout" Target="../slideLayouts/slideLayout18.xml"/><Relationship Id="rId90" Type="http://schemas.openxmlformats.org/officeDocument/2006/relationships/slideLayout" Target="../slideLayouts/slideLayout103.xml"/><Relationship Id="rId95" Type="http://schemas.openxmlformats.org/officeDocument/2006/relationships/slideLayout" Target="../slideLayouts/slideLayout108.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113" Type="http://schemas.openxmlformats.org/officeDocument/2006/relationships/slideLayout" Target="../slideLayouts/slideLayout126.xml"/><Relationship Id="rId118" Type="http://schemas.openxmlformats.org/officeDocument/2006/relationships/slideLayout" Target="../slideLayouts/slideLayout131.xml"/><Relationship Id="rId80" Type="http://schemas.openxmlformats.org/officeDocument/2006/relationships/slideLayout" Target="../slideLayouts/slideLayout93.xml"/><Relationship Id="rId85" Type="http://schemas.openxmlformats.org/officeDocument/2006/relationships/slideLayout" Target="../slideLayouts/slideLayout98.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59" Type="http://schemas.openxmlformats.org/officeDocument/2006/relationships/slideLayout" Target="../slideLayouts/slideLayout72.xml"/><Relationship Id="rId103" Type="http://schemas.openxmlformats.org/officeDocument/2006/relationships/slideLayout" Target="../slideLayouts/slideLayout116.xml"/><Relationship Id="rId108" Type="http://schemas.openxmlformats.org/officeDocument/2006/relationships/slideLayout" Target="../slideLayouts/slideLayout121.xml"/><Relationship Id="rId124" Type="http://schemas.openxmlformats.org/officeDocument/2006/relationships/slideLayout" Target="../slideLayouts/slideLayout137.xml"/><Relationship Id="rId129" Type="http://schemas.openxmlformats.org/officeDocument/2006/relationships/image" Target="../media/image15.png"/><Relationship Id="rId54" Type="http://schemas.openxmlformats.org/officeDocument/2006/relationships/slideLayout" Target="../slideLayouts/slideLayout67.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91" Type="http://schemas.openxmlformats.org/officeDocument/2006/relationships/slideLayout" Target="../slideLayouts/slideLayout104.xml"/><Relationship Id="rId96" Type="http://schemas.openxmlformats.org/officeDocument/2006/relationships/slideLayout" Target="../slideLayouts/slideLayout10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49" Type="http://schemas.openxmlformats.org/officeDocument/2006/relationships/slideLayout" Target="../slideLayouts/slideLayout62.xml"/><Relationship Id="rId114" Type="http://schemas.openxmlformats.org/officeDocument/2006/relationships/slideLayout" Target="../slideLayouts/slideLayout127.xml"/><Relationship Id="rId119" Type="http://schemas.openxmlformats.org/officeDocument/2006/relationships/slideLayout" Target="../slideLayouts/slideLayout132.xml"/><Relationship Id="rId44" Type="http://schemas.openxmlformats.org/officeDocument/2006/relationships/slideLayout" Target="../slideLayouts/slideLayout57.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81" Type="http://schemas.openxmlformats.org/officeDocument/2006/relationships/slideLayout" Target="../slideLayouts/slideLayout94.xml"/><Relationship Id="rId86" Type="http://schemas.openxmlformats.org/officeDocument/2006/relationships/slideLayout" Target="../slideLayouts/slideLayout99.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109" Type="http://schemas.openxmlformats.org/officeDocument/2006/relationships/slideLayout" Target="../slideLayouts/slideLayout12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97" Type="http://schemas.openxmlformats.org/officeDocument/2006/relationships/slideLayout" Target="../slideLayouts/slideLayout110.xml"/><Relationship Id="rId104" Type="http://schemas.openxmlformats.org/officeDocument/2006/relationships/slideLayout" Target="../slideLayouts/slideLayout117.xml"/><Relationship Id="rId120" Type="http://schemas.openxmlformats.org/officeDocument/2006/relationships/slideLayout" Target="../slideLayouts/slideLayout133.xml"/><Relationship Id="rId125" Type="http://schemas.openxmlformats.org/officeDocument/2006/relationships/theme" Target="../theme/theme3.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92" Type="http://schemas.openxmlformats.org/officeDocument/2006/relationships/slideLayout" Target="../slideLayouts/slideLayout105.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 Id="rId87" Type="http://schemas.openxmlformats.org/officeDocument/2006/relationships/slideLayout" Target="../slideLayouts/slideLayout100.xml"/><Relationship Id="rId110" Type="http://schemas.openxmlformats.org/officeDocument/2006/relationships/slideLayout" Target="../slideLayouts/slideLayout123.xml"/><Relationship Id="rId115" Type="http://schemas.openxmlformats.org/officeDocument/2006/relationships/slideLayout" Target="../slideLayouts/slideLayout128.xml"/><Relationship Id="rId61" Type="http://schemas.openxmlformats.org/officeDocument/2006/relationships/slideLayout" Target="../slideLayouts/slideLayout74.xml"/><Relationship Id="rId82" Type="http://schemas.openxmlformats.org/officeDocument/2006/relationships/slideLayout" Target="../slideLayouts/slideLayout95.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56" Type="http://schemas.openxmlformats.org/officeDocument/2006/relationships/slideLayout" Target="../slideLayouts/slideLayout69.xml"/><Relationship Id="rId77" Type="http://schemas.openxmlformats.org/officeDocument/2006/relationships/slideLayout" Target="../slideLayouts/slideLayout90.xml"/><Relationship Id="rId100" Type="http://schemas.openxmlformats.org/officeDocument/2006/relationships/slideLayout" Target="../slideLayouts/slideLayout113.xml"/><Relationship Id="rId105" Type="http://schemas.openxmlformats.org/officeDocument/2006/relationships/slideLayout" Target="../slideLayouts/slideLayout118.xml"/><Relationship Id="rId126" Type="http://schemas.openxmlformats.org/officeDocument/2006/relationships/tags" Target="../tags/tag9.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93" Type="http://schemas.openxmlformats.org/officeDocument/2006/relationships/slideLayout" Target="../slideLayouts/slideLayout106.xml"/><Relationship Id="rId98" Type="http://schemas.openxmlformats.org/officeDocument/2006/relationships/slideLayout" Target="../slideLayouts/slideLayout111.xml"/><Relationship Id="rId121" Type="http://schemas.openxmlformats.org/officeDocument/2006/relationships/slideLayout" Target="../slideLayouts/slideLayout134.xml"/><Relationship Id="rId3" Type="http://schemas.openxmlformats.org/officeDocument/2006/relationships/slideLayout" Target="../slideLayouts/slideLayout16.xml"/><Relationship Id="rId25" Type="http://schemas.openxmlformats.org/officeDocument/2006/relationships/slideLayout" Target="../slideLayouts/slideLayout38.xml"/><Relationship Id="rId46" Type="http://schemas.openxmlformats.org/officeDocument/2006/relationships/slideLayout" Target="../slideLayouts/slideLayout59.xml"/><Relationship Id="rId67" Type="http://schemas.openxmlformats.org/officeDocument/2006/relationships/slideLayout" Target="../slideLayouts/slideLayout80.xml"/><Relationship Id="rId116" Type="http://schemas.openxmlformats.org/officeDocument/2006/relationships/slideLayout" Target="../slideLayouts/slideLayout12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62" Type="http://schemas.openxmlformats.org/officeDocument/2006/relationships/slideLayout" Target="../slideLayouts/slideLayout75.xml"/><Relationship Id="rId83" Type="http://schemas.openxmlformats.org/officeDocument/2006/relationships/slideLayout" Target="../slideLayouts/slideLayout96.xml"/><Relationship Id="rId88" Type="http://schemas.openxmlformats.org/officeDocument/2006/relationships/slideLayout" Target="../slideLayouts/slideLayout101.xml"/><Relationship Id="rId111" Type="http://schemas.openxmlformats.org/officeDocument/2006/relationships/slideLayout" Target="../slideLayouts/slideLayout124.xml"/><Relationship Id="rId15" Type="http://schemas.openxmlformats.org/officeDocument/2006/relationships/slideLayout" Target="../slideLayouts/slideLayout28.xml"/><Relationship Id="rId36" Type="http://schemas.openxmlformats.org/officeDocument/2006/relationships/slideLayout" Target="../slideLayouts/slideLayout49.xml"/><Relationship Id="rId57" Type="http://schemas.openxmlformats.org/officeDocument/2006/relationships/slideLayout" Target="../slideLayouts/slideLayout70.xml"/><Relationship Id="rId106" Type="http://schemas.openxmlformats.org/officeDocument/2006/relationships/slideLayout" Target="../slideLayouts/slideLayout119.xml"/><Relationship Id="rId127" Type="http://schemas.openxmlformats.org/officeDocument/2006/relationships/oleObject" Target="../embeddings/oleObject7.bin"/><Relationship Id="rId10" Type="http://schemas.openxmlformats.org/officeDocument/2006/relationships/slideLayout" Target="../slideLayouts/slideLayout23.xml"/><Relationship Id="rId31" Type="http://schemas.openxmlformats.org/officeDocument/2006/relationships/slideLayout" Target="../slideLayouts/slideLayout44.xml"/><Relationship Id="rId52" Type="http://schemas.openxmlformats.org/officeDocument/2006/relationships/slideLayout" Target="../slideLayouts/slideLayout65.xml"/><Relationship Id="rId73" Type="http://schemas.openxmlformats.org/officeDocument/2006/relationships/slideLayout" Target="../slideLayouts/slideLayout86.xml"/><Relationship Id="rId78" Type="http://schemas.openxmlformats.org/officeDocument/2006/relationships/slideLayout" Target="../slideLayouts/slideLayout91.xml"/><Relationship Id="rId94" Type="http://schemas.openxmlformats.org/officeDocument/2006/relationships/slideLayout" Target="../slideLayouts/slideLayout107.xml"/><Relationship Id="rId99" Type="http://schemas.openxmlformats.org/officeDocument/2006/relationships/slideLayout" Target="../slideLayouts/slideLayout112.xml"/><Relationship Id="rId101" Type="http://schemas.openxmlformats.org/officeDocument/2006/relationships/slideLayout" Target="../slideLayouts/slideLayout114.xml"/><Relationship Id="rId122" Type="http://schemas.openxmlformats.org/officeDocument/2006/relationships/slideLayout" Target="../slideLayouts/slideLayout13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26"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tags" Target="../tags/tag7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image" Target="../media/image15.png"/><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theme" Target="../theme/theme4.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image" Target="../media/image21.emf"/><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tags" Target="../tags/tag79.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image" Target="../media/image15.png"/><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theme" Target="../theme/theme5.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image" Target="../media/image22.emf"/><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oleObject" Target="../embeddings/oleObject9.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tags" Target="../tags/tag82.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image" Target="../media/image15.png"/><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theme" Target="../theme/theme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image" Target="../media/image23.emf"/><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oleObject" Target="../embeddings/oleObject10.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tags" Target="../tags/tag85.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image" Target="../media/image15.png"/><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theme" Target="../theme/theme7.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image" Target="../media/image24.emf"/><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oleObject" Target="../embeddings/oleObject11.bin"/></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slideLayout" Target="../slideLayouts/slideLayout271.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34" Type="http://schemas.openxmlformats.org/officeDocument/2006/relationships/image" Target="../media/image26.png"/><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slideLayout" Target="../slideLayouts/slideLayout270.xml"/><Relationship Id="rId33" Type="http://schemas.openxmlformats.org/officeDocument/2006/relationships/image" Target="../media/image25.emf"/><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29" Type="http://schemas.openxmlformats.org/officeDocument/2006/relationships/slideLayout" Target="../slideLayouts/slideLayout274.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32" Type="http://schemas.openxmlformats.org/officeDocument/2006/relationships/oleObject" Target="../embeddings/oleObject12.bin"/><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28" Type="http://schemas.openxmlformats.org/officeDocument/2006/relationships/slideLayout" Target="../slideLayouts/slideLayout273.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31" Type="http://schemas.openxmlformats.org/officeDocument/2006/relationships/tags" Target="../tags/tag88.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 Id="rId27" Type="http://schemas.openxmlformats.org/officeDocument/2006/relationships/slideLayout" Target="../slideLayouts/slideLayout272.xml"/><Relationship Id="rId30" Type="http://schemas.openxmlformats.org/officeDocument/2006/relationships/theme" Target="../theme/theme8.xml"/><Relationship Id="rId8" Type="http://schemas.openxmlformats.org/officeDocument/2006/relationships/slideLayout" Target="../slideLayouts/slideLayout25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image" Target="../media/image15.png"/><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theme" Target="../theme/theme9.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image" Target="../media/image27.emf"/><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oleObject" Target="../embeddings/oleObject13.bin"/><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tags" Target="../tags/tag91.xml"/><Relationship Id="rId8" Type="http://schemas.openxmlformats.org/officeDocument/2006/relationships/slideLayout" Target="../slideLayouts/slideLayout2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868F68-376D-144F-A7F1-D82998A90A61}"/>
              </a:ext>
            </a:extLst>
          </p:cNvPr>
          <p:cNvGraphicFramePr>
            <a:graphicFrameLocks noChangeAspect="1"/>
          </p:cNvGraphicFramePr>
          <p:nvPr userDrawn="1">
            <p:custDataLst>
              <p:tags r:id="rId9"/>
            </p:custDataLst>
            <p:extLst>
              <p:ext uri="{D42A27DB-BD31-4B8C-83A1-F6EECF244321}">
                <p14:modId xmlns:p14="http://schemas.microsoft.com/office/powerpoint/2010/main" val="724417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2" name="Object 1" hidden="1">
                        <a:extLst>
                          <a:ext uri="{FF2B5EF4-FFF2-40B4-BE49-F238E27FC236}">
                            <a16:creationId xmlns:a16="http://schemas.microsoft.com/office/drawing/2014/main" id="{5C868F68-376D-144F-A7F1-D82998A90A61}"/>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7156124"/>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4125" r:id="rId4"/>
    <p:sldLayoutId id="2147484127" r:id="rId5"/>
    <p:sldLayoutId id="2147484128" r:id="rId6"/>
    <p:sldLayoutId id="2147484129" r:id="rId7"/>
  </p:sldLayoutIdLst>
  <p:hf hdr="0" dt="0"/>
  <p:txStyles>
    <p:titleStyle>
      <a:lvl1pPr algn="l" defTabSz="914400" rtl="0" eaLnBrk="1" latinLnBrk="0" hangingPunct="1">
        <a:lnSpc>
          <a:spcPct val="90000"/>
        </a:lnSpc>
        <a:spcBef>
          <a:spcPct val="0"/>
        </a:spcBef>
        <a:buNone/>
        <a:defRPr sz="3200" b="0" i="0" kern="1200" baseline="0">
          <a:solidFill>
            <a:schemeClr val="tx1"/>
          </a:solidFill>
          <a:latin typeface="Arial MT Light" charset="0"/>
          <a:ea typeface="Arial MT Light" charset="0"/>
          <a:cs typeface="Arial MT Light" charset="0"/>
        </a:defRPr>
      </a:lvl1pPr>
    </p:titleStyle>
    <p:bodyStyle>
      <a:lvl1pPr marL="0" indent="0" algn="l" defTabSz="914400" rtl="0" eaLnBrk="1" latinLnBrk="0" hangingPunct="1">
        <a:lnSpc>
          <a:spcPct val="90000"/>
        </a:lnSpc>
        <a:spcBef>
          <a:spcPts val="1000"/>
        </a:spcBef>
        <a:buFontTx/>
        <a:buNone/>
        <a:defRPr sz="2000" b="0" i="0" kern="1200" baseline="0">
          <a:solidFill>
            <a:schemeClr val="bg2"/>
          </a:solidFill>
          <a:latin typeface="Arial MT Light" charset="0"/>
          <a:ea typeface="Arial MT Light" charset="0"/>
          <a:cs typeface="Arial MT Light" charset="0"/>
        </a:defRPr>
      </a:lvl1pPr>
      <a:lvl2pPr marL="685800" indent="-228600" algn="l" defTabSz="914400" rtl="0" eaLnBrk="1" latinLnBrk="0" hangingPunct="1">
        <a:lnSpc>
          <a:spcPct val="90000"/>
        </a:lnSpc>
        <a:spcBef>
          <a:spcPts val="500"/>
        </a:spcBef>
        <a:buFont typeface="Arial"/>
        <a:buChar char="•"/>
        <a:defRPr sz="2400" b="0" i="0" kern="1200">
          <a:solidFill>
            <a:schemeClr val="bg2"/>
          </a:solidFill>
          <a:latin typeface="Arial MT Light" charset="0"/>
          <a:ea typeface="Arial MT Light" charset="0"/>
          <a:cs typeface="Arial MT Light" charset="0"/>
        </a:defRPr>
      </a:lvl2pPr>
      <a:lvl3pPr marL="1143000" indent="-228600" algn="l" defTabSz="914400" rtl="0" eaLnBrk="1" latinLnBrk="0" hangingPunct="1">
        <a:lnSpc>
          <a:spcPct val="90000"/>
        </a:lnSpc>
        <a:spcBef>
          <a:spcPts val="500"/>
        </a:spcBef>
        <a:buFont typeface="Arial"/>
        <a:buChar char="•"/>
        <a:defRPr sz="2000" b="0" i="0" kern="1200">
          <a:solidFill>
            <a:schemeClr val="bg2"/>
          </a:solidFill>
          <a:latin typeface="Arial MT Light" charset="0"/>
          <a:ea typeface="Arial MT Light" charset="0"/>
          <a:cs typeface="Arial MT Light" charset="0"/>
        </a:defRPr>
      </a:lvl3pPr>
      <a:lvl4pPr marL="16002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4pPr>
      <a:lvl5pPr marL="20574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1576F5-DD81-6540-A629-2E86C8F28DAC}"/>
              </a:ext>
            </a:extLst>
          </p:cNvPr>
          <p:cNvGraphicFramePr>
            <a:graphicFrameLocks noChangeAspect="1"/>
          </p:cNvGraphicFramePr>
          <p:nvPr userDrawn="1">
            <p:custDataLst>
              <p:tags r:id="rId29"/>
            </p:custDataLst>
            <p:extLst>
              <p:ext uri="{D42A27DB-BD31-4B8C-83A1-F6EECF244321}">
                <p14:modId xmlns:p14="http://schemas.microsoft.com/office/powerpoint/2010/main" val="1412033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2" name="Object 1" hidden="1">
                        <a:extLst>
                          <a:ext uri="{FF2B5EF4-FFF2-40B4-BE49-F238E27FC236}">
                            <a16:creationId xmlns:a16="http://schemas.microsoft.com/office/drawing/2014/main" id="{D91576F5-DD81-6540-A629-2E86C8F28DAC}"/>
                          </a:ext>
                        </a:extLst>
                      </p:cNvPr>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Tree>
    <p:extLst>
      <p:ext uri="{BB962C8B-B14F-4D97-AF65-F5344CB8AC3E}">
        <p14:creationId xmlns:p14="http://schemas.microsoft.com/office/powerpoint/2010/main" val="4178536365"/>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D561D2-A109-7B43-92B4-474D78A1BDCB}"/>
              </a:ext>
            </a:extLst>
          </p:cNvPr>
          <p:cNvGraphicFramePr>
            <a:graphicFrameLocks noChangeAspect="1"/>
          </p:cNvGraphicFramePr>
          <p:nvPr userDrawn="1">
            <p:custDataLst>
              <p:tags r:id="rId30"/>
            </p:custDataLst>
            <p:extLst>
              <p:ext uri="{D42A27DB-BD31-4B8C-83A1-F6EECF244321}">
                <p14:modId xmlns:p14="http://schemas.microsoft.com/office/powerpoint/2010/main" val="1119131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5DD561D2-A109-7B43-92B4-474D78A1BDCB}"/>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2494615204"/>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5" r:id="rId2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6065CC-A9A7-3246-ADB0-BF21FCF02AE1}"/>
              </a:ext>
            </a:extLst>
          </p:cNvPr>
          <p:cNvGraphicFramePr>
            <a:graphicFrameLocks noChangeAspect="1"/>
          </p:cNvGraphicFramePr>
          <p:nvPr userDrawn="1">
            <p:custDataLst>
              <p:tags r:id="rId30"/>
            </p:custDataLst>
            <p:extLst>
              <p:ext uri="{D42A27DB-BD31-4B8C-83A1-F6EECF244321}">
                <p14:modId xmlns:p14="http://schemas.microsoft.com/office/powerpoint/2010/main" val="1041399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806065CC-A9A7-3246-ADB0-BF21FCF02AE1}"/>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Rectangle 1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3738832112"/>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6">
                <a:lumMod val="0"/>
                <a:lumOff val="100000"/>
              </a:schemeClr>
            </a:gs>
            <a:gs pos="54000">
              <a:schemeClr val="accent6">
                <a:lumMod val="0"/>
                <a:lumOff val="100000"/>
                <a:alpha val="16000"/>
              </a:schemeClr>
            </a:gs>
            <a:gs pos="100000">
              <a:schemeClr val="accent6">
                <a:lumMod val="100000"/>
              </a:schemeClr>
            </a:gs>
          </a:gsLst>
          <a:path path="circle">
            <a:fillToRect l="50000" t="-80000" r="50000" b="180000"/>
          </a:path>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7C4261-E0FC-495B-883E-46E98F81BA02}"/>
              </a:ext>
            </a:extLst>
          </p:cNvPr>
          <p:cNvGraphicFramePr>
            <a:graphicFrameLocks noChangeAspect="1"/>
          </p:cNvGraphicFramePr>
          <p:nvPr userDrawn="1">
            <p:custDataLst>
              <p:tags r:id="rId6"/>
            </p:custDataLst>
            <p:extLst>
              <p:ext uri="{D42A27DB-BD31-4B8C-83A1-F6EECF244321}">
                <p14:modId xmlns:p14="http://schemas.microsoft.com/office/powerpoint/2010/main" val="102614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2" name="Object 1" hidden="1">
                        <a:extLst>
                          <a:ext uri="{FF2B5EF4-FFF2-40B4-BE49-F238E27FC236}">
                            <a16:creationId xmlns:a16="http://schemas.microsoft.com/office/drawing/2014/main" id="{CB7C4261-E0FC-495B-883E-46E98F81BA0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10376846"/>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17DDD5-D754-F749-A71D-21298394ADB9}"/>
              </a:ext>
            </a:extLst>
          </p:cNvPr>
          <p:cNvGraphicFramePr>
            <a:graphicFrameLocks noChangeAspect="1"/>
          </p:cNvGraphicFramePr>
          <p:nvPr userDrawn="1">
            <p:custDataLst>
              <p:tags r:id="rId8"/>
            </p:custDataLst>
            <p:extLst>
              <p:ext uri="{D42A27DB-BD31-4B8C-83A1-F6EECF244321}">
                <p14:modId xmlns:p14="http://schemas.microsoft.com/office/powerpoint/2010/main" val="2055880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7772400" imgH="10058400" progId="TCLayout.ActiveDocument.1">
                  <p:embed/>
                </p:oleObj>
              </mc:Choice>
              <mc:Fallback>
                <p:oleObj name="think-cell Slide" r:id="rId9" imgW="7772400" imgH="10058400" progId="TCLayout.ActiveDocument.1">
                  <p:embed/>
                  <p:pic>
                    <p:nvPicPr>
                      <p:cNvPr id="2" name="Object 1" hidden="1">
                        <a:extLst>
                          <a:ext uri="{FF2B5EF4-FFF2-40B4-BE49-F238E27FC236}">
                            <a16:creationId xmlns:a16="http://schemas.microsoft.com/office/drawing/2014/main" id="{EC17DDD5-D754-F749-A71D-21298394ADB9}"/>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1002357" y="5455006"/>
            <a:ext cx="965143" cy="1171710"/>
          </a:xfrm>
          <a:prstGeom prst="rect">
            <a:avLst/>
          </a:prstGeom>
          <a:effectLst/>
        </p:spPr>
      </p:pic>
      <p:sp>
        <p:nvSpPr>
          <p:cNvPr id="4"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SLIDE</a:t>
            </a:r>
            <a:r>
              <a:rPr lang="en-US" sz="2400" baseline="0">
                <a:solidFill>
                  <a:schemeClr val="tx1"/>
                </a:solidFill>
              </a:rPr>
              <a:t> DIVIDERS</a:t>
            </a:r>
            <a:endParaRPr lang="en-US" sz="2400">
              <a:solidFill>
                <a:schemeClr val="tx1"/>
              </a:solidFill>
            </a:endParaRPr>
          </a:p>
        </p:txBody>
      </p:sp>
      <p:sp>
        <p:nvSpPr>
          <p:cNvPr id="5" name="Rectangle 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208246863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4026" r:id="rId6"/>
  </p:sldLayoutIdLst>
  <p:hf hdr="0" dt="0"/>
  <p:txStyles>
    <p:titleStyle>
      <a:lvl1pPr algn="l" defTabSz="914400" rtl="0" eaLnBrk="1" latinLnBrk="0" hangingPunct="1">
        <a:lnSpc>
          <a:spcPct val="90000"/>
        </a:lnSpc>
        <a:spcBef>
          <a:spcPct val="0"/>
        </a:spcBef>
        <a:buNone/>
        <a:defRPr sz="3200" b="0" i="0" kern="1200" baseline="0">
          <a:solidFill>
            <a:schemeClr val="tx1"/>
          </a:solidFill>
          <a:latin typeface="Arial MT Light" charset="0"/>
          <a:ea typeface="Arial MT Light" charset="0"/>
          <a:cs typeface="Arial MT Light" charset="0"/>
        </a:defRPr>
      </a:lvl1pPr>
    </p:titleStyle>
    <p:bodyStyle>
      <a:lvl1pPr marL="0" indent="0" algn="l" defTabSz="914400" rtl="0" eaLnBrk="1" latinLnBrk="0" hangingPunct="1">
        <a:lnSpc>
          <a:spcPct val="90000"/>
        </a:lnSpc>
        <a:spcBef>
          <a:spcPts val="1000"/>
        </a:spcBef>
        <a:buFontTx/>
        <a:buNone/>
        <a:defRPr sz="2000" b="0" i="0" kern="1200" baseline="0">
          <a:solidFill>
            <a:schemeClr val="bg2"/>
          </a:solidFill>
          <a:latin typeface="Arial MT Light" charset="0"/>
          <a:ea typeface="Arial MT Light" charset="0"/>
          <a:cs typeface="Arial MT Light" charset="0"/>
        </a:defRPr>
      </a:lvl1pPr>
      <a:lvl2pPr marL="685800" indent="-228600" algn="l" defTabSz="914400" rtl="0" eaLnBrk="1" latinLnBrk="0" hangingPunct="1">
        <a:lnSpc>
          <a:spcPct val="90000"/>
        </a:lnSpc>
        <a:spcBef>
          <a:spcPts val="500"/>
        </a:spcBef>
        <a:buFont typeface="Arial"/>
        <a:buChar char="•"/>
        <a:defRPr sz="2400" b="0" i="0" kern="1200">
          <a:solidFill>
            <a:schemeClr val="bg2"/>
          </a:solidFill>
          <a:latin typeface="Arial MT Light" charset="0"/>
          <a:ea typeface="Arial MT Light" charset="0"/>
          <a:cs typeface="Arial MT Light" charset="0"/>
        </a:defRPr>
      </a:lvl2pPr>
      <a:lvl3pPr marL="1143000" indent="-228600" algn="l" defTabSz="914400" rtl="0" eaLnBrk="1" latinLnBrk="0" hangingPunct="1">
        <a:lnSpc>
          <a:spcPct val="90000"/>
        </a:lnSpc>
        <a:spcBef>
          <a:spcPts val="500"/>
        </a:spcBef>
        <a:buFont typeface="Arial"/>
        <a:buChar char="•"/>
        <a:defRPr sz="2000" b="0" i="0" kern="1200">
          <a:solidFill>
            <a:schemeClr val="bg2"/>
          </a:solidFill>
          <a:latin typeface="Arial MT Light" charset="0"/>
          <a:ea typeface="Arial MT Light" charset="0"/>
          <a:cs typeface="Arial MT Light" charset="0"/>
        </a:defRPr>
      </a:lvl3pPr>
      <a:lvl4pPr marL="16002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4pPr>
      <a:lvl5pPr marL="20574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C26118-4D97-D042-8A80-A0B847C3F2F6}"/>
              </a:ext>
            </a:extLst>
          </p:cNvPr>
          <p:cNvGraphicFramePr>
            <a:graphicFrameLocks noChangeAspect="1"/>
          </p:cNvGraphicFramePr>
          <p:nvPr userDrawn="1">
            <p:custDataLst>
              <p:tags r:id="rId126"/>
            </p:custDataLst>
            <p:extLst>
              <p:ext uri="{D42A27DB-BD31-4B8C-83A1-F6EECF244321}">
                <p14:modId xmlns:p14="http://schemas.microsoft.com/office/powerpoint/2010/main" val="3308110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7" imgW="7772400" imgH="10058400" progId="TCLayout.ActiveDocument.1">
                  <p:embed/>
                </p:oleObj>
              </mc:Choice>
              <mc:Fallback>
                <p:oleObj name="think-cell Slide" r:id="rId127" imgW="7772400" imgH="10058400" progId="TCLayout.ActiveDocument.1">
                  <p:embed/>
                  <p:pic>
                    <p:nvPicPr>
                      <p:cNvPr id="2" name="Object 1" hidden="1">
                        <a:extLst>
                          <a:ext uri="{FF2B5EF4-FFF2-40B4-BE49-F238E27FC236}">
                            <a16:creationId xmlns:a16="http://schemas.microsoft.com/office/drawing/2014/main" id="{57C26118-4D97-D042-8A80-A0B847C3F2F6}"/>
                          </a:ext>
                        </a:extLst>
                      </p:cNvPr>
                      <p:cNvPicPr/>
                      <p:nvPr/>
                    </p:nvPicPr>
                    <p:blipFill>
                      <a:blip r:embed="rId128"/>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129"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Rectangle 1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rgbClr val="FF0000"/>
                </a:solidFill>
              </a:rPr>
              <a:t>CONFIDENTIAL – NOT FOR DISTRIBUTION</a:t>
            </a:r>
          </a:p>
        </p:txBody>
      </p:sp>
    </p:spTree>
    <p:extLst>
      <p:ext uri="{BB962C8B-B14F-4D97-AF65-F5344CB8AC3E}">
        <p14:creationId xmlns:p14="http://schemas.microsoft.com/office/powerpoint/2010/main" val="25366238"/>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06" r:id="rId6"/>
    <p:sldLayoutId id="2147484103" r:id="rId7"/>
    <p:sldLayoutId id="2147484088" r:id="rId8"/>
    <p:sldLayoutId id="2147484089" r:id="rId9"/>
    <p:sldLayoutId id="2147484090" r:id="rId10"/>
    <p:sldLayoutId id="2147484091" r:id="rId11"/>
    <p:sldLayoutId id="2147484092" r:id="rId12"/>
    <p:sldLayoutId id="2147484073" r:id="rId13"/>
    <p:sldLayoutId id="2147484074" r:id="rId14"/>
    <p:sldLayoutId id="2147484075" r:id="rId15"/>
    <p:sldLayoutId id="2147484076" r:id="rId16"/>
    <p:sldLayoutId id="2147484077" r:id="rId17"/>
    <p:sldLayoutId id="2147484058" r:id="rId18"/>
    <p:sldLayoutId id="2147484059" r:id="rId19"/>
    <p:sldLayoutId id="2147484060" r:id="rId20"/>
    <p:sldLayoutId id="2147484061" r:id="rId21"/>
    <p:sldLayoutId id="2147484062" r:id="rId22"/>
    <p:sldLayoutId id="2147484043" r:id="rId23"/>
    <p:sldLayoutId id="2147484044" r:id="rId24"/>
    <p:sldLayoutId id="2147484045" r:id="rId25"/>
    <p:sldLayoutId id="2147484046" r:id="rId26"/>
    <p:sldLayoutId id="2147484047" r:id="rId27"/>
    <p:sldLayoutId id="2147484040" r:id="rId28"/>
    <p:sldLayoutId id="2147484037" r:id="rId29"/>
    <p:sldLayoutId id="2147484034" r:id="rId30"/>
    <p:sldLayoutId id="2147484031" r:id="rId31"/>
    <p:sldLayoutId id="2147484028"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2" r:id="rId45"/>
    <p:sldLayoutId id="2147483863" r:id="rId46"/>
    <p:sldLayoutId id="2147484114" r:id="rId47"/>
    <p:sldLayoutId id="2147484115" r:id="rId48"/>
    <p:sldLayoutId id="2147484116" r:id="rId49"/>
    <p:sldLayoutId id="2147484117" r:id="rId50"/>
    <p:sldLayoutId id="2147484118" r:id="rId51"/>
    <p:sldLayoutId id="2147484119" r:id="rId52"/>
    <p:sldLayoutId id="2147484120" r:id="rId53"/>
    <p:sldLayoutId id="2147484121" r:id="rId54"/>
    <p:sldLayoutId id="2147484122" r:id="rId55"/>
    <p:sldLayoutId id="2147484123" r:id="rId56"/>
    <p:sldLayoutId id="2147484107" r:id="rId57"/>
    <p:sldLayoutId id="2147484108" r:id="rId58"/>
    <p:sldLayoutId id="2147484104" r:id="rId59"/>
    <p:sldLayoutId id="2147484105" r:id="rId60"/>
    <p:sldLayoutId id="2147484093" r:id="rId61"/>
    <p:sldLayoutId id="2147484094" r:id="rId62"/>
    <p:sldLayoutId id="2147484095" r:id="rId63"/>
    <p:sldLayoutId id="2147484096" r:id="rId64"/>
    <p:sldLayoutId id="2147484097" r:id="rId65"/>
    <p:sldLayoutId id="2147484098" r:id="rId66"/>
    <p:sldLayoutId id="2147484099" r:id="rId67"/>
    <p:sldLayoutId id="2147484100" r:id="rId68"/>
    <p:sldLayoutId id="2147484101" r:id="rId69"/>
    <p:sldLayoutId id="2147484102" r:id="rId70"/>
    <p:sldLayoutId id="2147484078" r:id="rId71"/>
    <p:sldLayoutId id="2147484079" r:id="rId72"/>
    <p:sldLayoutId id="2147484080" r:id="rId73"/>
    <p:sldLayoutId id="2147484081" r:id="rId74"/>
    <p:sldLayoutId id="2147484082" r:id="rId75"/>
    <p:sldLayoutId id="2147484083" r:id="rId76"/>
    <p:sldLayoutId id="2147484084" r:id="rId77"/>
    <p:sldLayoutId id="2147484085" r:id="rId78"/>
    <p:sldLayoutId id="2147484086" r:id="rId79"/>
    <p:sldLayoutId id="2147484087" r:id="rId80"/>
    <p:sldLayoutId id="2147484063" r:id="rId81"/>
    <p:sldLayoutId id="2147484064" r:id="rId82"/>
    <p:sldLayoutId id="2147484065" r:id="rId83"/>
    <p:sldLayoutId id="2147484066" r:id="rId84"/>
    <p:sldLayoutId id="2147484067" r:id="rId85"/>
    <p:sldLayoutId id="2147484068" r:id="rId86"/>
    <p:sldLayoutId id="2147484069" r:id="rId87"/>
    <p:sldLayoutId id="2147484070" r:id="rId88"/>
    <p:sldLayoutId id="2147484071" r:id="rId89"/>
    <p:sldLayoutId id="2147484072" r:id="rId90"/>
    <p:sldLayoutId id="2147484048" r:id="rId91"/>
    <p:sldLayoutId id="2147484049" r:id="rId92"/>
    <p:sldLayoutId id="2147484050" r:id="rId93"/>
    <p:sldLayoutId id="2147484051" r:id="rId94"/>
    <p:sldLayoutId id="2147484052" r:id="rId95"/>
    <p:sldLayoutId id="2147484053" r:id="rId96"/>
    <p:sldLayoutId id="2147484054" r:id="rId97"/>
    <p:sldLayoutId id="2147484055" r:id="rId98"/>
    <p:sldLayoutId id="2147484056" r:id="rId99"/>
    <p:sldLayoutId id="2147484057" r:id="rId100"/>
    <p:sldLayoutId id="2147484041" r:id="rId101"/>
    <p:sldLayoutId id="2147484042" r:id="rId102"/>
    <p:sldLayoutId id="2147484038" r:id="rId103"/>
    <p:sldLayoutId id="2147484039" r:id="rId104"/>
    <p:sldLayoutId id="2147484035" r:id="rId105"/>
    <p:sldLayoutId id="2147484036" r:id="rId106"/>
    <p:sldLayoutId id="2147484032" r:id="rId107"/>
    <p:sldLayoutId id="2147484033" r:id="rId108"/>
    <p:sldLayoutId id="2147484029" r:id="rId109"/>
    <p:sldLayoutId id="2147484030" r:id="rId110"/>
    <p:sldLayoutId id="2147483864" r:id="rId111"/>
    <p:sldLayoutId id="2147483865" r:id="rId112"/>
    <p:sldLayoutId id="2147483866" r:id="rId113"/>
    <p:sldLayoutId id="2147483867" r:id="rId114"/>
    <p:sldLayoutId id="2147483868" r:id="rId115"/>
    <p:sldLayoutId id="2147483869" r:id="rId116"/>
    <p:sldLayoutId id="2147483870" r:id="rId117"/>
    <p:sldLayoutId id="2147483871" r:id="rId118"/>
    <p:sldLayoutId id="2147483872" r:id="rId119"/>
    <p:sldLayoutId id="2147483873" r:id="rId120"/>
    <p:sldLayoutId id="2147483874" r:id="rId121"/>
    <p:sldLayoutId id="2147483875" r:id="rId122"/>
    <p:sldLayoutId id="2147483876" r:id="rId123"/>
    <p:sldLayoutId id="2147484124" r:id="rId12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5466C3-E6B2-0445-8925-E05FF351B730}"/>
              </a:ext>
            </a:extLst>
          </p:cNvPr>
          <p:cNvGraphicFramePr>
            <a:graphicFrameLocks noChangeAspect="1"/>
          </p:cNvGraphicFramePr>
          <p:nvPr userDrawn="1">
            <p:custDataLst>
              <p:tags r:id="rId29"/>
            </p:custDataLst>
            <p:extLst>
              <p:ext uri="{D42A27DB-BD31-4B8C-83A1-F6EECF244321}">
                <p14:modId xmlns:p14="http://schemas.microsoft.com/office/powerpoint/2010/main" val="4032628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2" name="Object 1" hidden="1">
                        <a:extLst>
                          <a:ext uri="{FF2B5EF4-FFF2-40B4-BE49-F238E27FC236}">
                            <a16:creationId xmlns:a16="http://schemas.microsoft.com/office/drawing/2014/main" id="{ED5466C3-E6B2-0445-8925-E05FF351B730}"/>
                          </a:ext>
                        </a:extLst>
                      </p:cNvPr>
                      <p:cNvPicPr/>
                      <p:nvPr/>
                    </p:nvPicPr>
                    <p:blipFill>
                      <a:blip r:embed="rId31"/>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65464145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7A9FA-6B51-D740-8A4F-8198D99A6886}"/>
              </a:ext>
            </a:extLst>
          </p:cNvPr>
          <p:cNvGraphicFramePr>
            <a:graphicFrameLocks noChangeAspect="1"/>
          </p:cNvGraphicFramePr>
          <p:nvPr userDrawn="1">
            <p:custDataLst>
              <p:tags r:id="rId29"/>
            </p:custDataLst>
            <p:extLst>
              <p:ext uri="{D42A27DB-BD31-4B8C-83A1-F6EECF244321}">
                <p14:modId xmlns:p14="http://schemas.microsoft.com/office/powerpoint/2010/main" val="3185498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2" name="Object 1" hidden="1">
                        <a:extLst>
                          <a:ext uri="{FF2B5EF4-FFF2-40B4-BE49-F238E27FC236}">
                            <a16:creationId xmlns:a16="http://schemas.microsoft.com/office/drawing/2014/main" id="{AC67A9FA-6B51-D740-8A4F-8198D99A6886}"/>
                          </a:ext>
                        </a:extLst>
                      </p:cNvPr>
                      <p:cNvPicPr/>
                      <p:nvPr/>
                    </p:nvPicPr>
                    <p:blipFill>
                      <a:blip r:embed="rId31"/>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3548483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D73178-599C-0845-AA56-BB59160B4981}"/>
              </a:ext>
            </a:extLst>
          </p:cNvPr>
          <p:cNvGraphicFramePr>
            <a:graphicFrameLocks noChangeAspect="1"/>
          </p:cNvGraphicFramePr>
          <p:nvPr userDrawn="1">
            <p:custDataLst>
              <p:tags r:id="rId29"/>
            </p:custDataLst>
            <p:extLst>
              <p:ext uri="{D42A27DB-BD31-4B8C-83A1-F6EECF244321}">
                <p14:modId xmlns:p14="http://schemas.microsoft.com/office/powerpoint/2010/main" val="633407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2" name="Object 1" hidden="1">
                        <a:extLst>
                          <a:ext uri="{FF2B5EF4-FFF2-40B4-BE49-F238E27FC236}">
                            <a16:creationId xmlns:a16="http://schemas.microsoft.com/office/drawing/2014/main" id="{9CD73178-599C-0845-AA56-BB59160B4981}"/>
                          </a:ext>
                        </a:extLst>
                      </p:cNvPr>
                      <p:cNvPicPr/>
                      <p:nvPr/>
                    </p:nvPicPr>
                    <p:blipFill>
                      <a:blip r:embed="rId31"/>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5052683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F25F9E-5357-3540-A3BA-DD313DB70C8F}"/>
              </a:ext>
            </a:extLst>
          </p:cNvPr>
          <p:cNvGraphicFramePr>
            <a:graphicFrameLocks noChangeAspect="1"/>
          </p:cNvGraphicFramePr>
          <p:nvPr userDrawn="1">
            <p:custDataLst>
              <p:tags r:id="rId29"/>
            </p:custDataLst>
            <p:extLst>
              <p:ext uri="{D42A27DB-BD31-4B8C-83A1-F6EECF244321}">
                <p14:modId xmlns:p14="http://schemas.microsoft.com/office/powerpoint/2010/main" val="1902407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7772400" imgH="10058400" progId="TCLayout.ActiveDocument.1">
                  <p:embed/>
                </p:oleObj>
              </mc:Choice>
              <mc:Fallback>
                <p:oleObj name="think-cell Slide" r:id="rId30" imgW="7772400" imgH="10058400" progId="TCLayout.ActiveDocument.1">
                  <p:embed/>
                  <p:pic>
                    <p:nvPicPr>
                      <p:cNvPr id="2" name="Object 1" hidden="1">
                        <a:extLst>
                          <a:ext uri="{FF2B5EF4-FFF2-40B4-BE49-F238E27FC236}">
                            <a16:creationId xmlns:a16="http://schemas.microsoft.com/office/drawing/2014/main" id="{A7F25F9E-5357-3540-A3BA-DD313DB70C8F}"/>
                          </a:ext>
                        </a:extLst>
                      </p:cNvPr>
                      <p:cNvPicPr/>
                      <p:nvPr/>
                    </p:nvPicPr>
                    <p:blipFill>
                      <a:blip r:embed="rId31"/>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206678058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4347D0-009A-A143-90C0-48C2648172AE}"/>
              </a:ext>
            </a:extLst>
          </p:cNvPr>
          <p:cNvGraphicFramePr>
            <a:graphicFrameLocks noChangeAspect="1"/>
          </p:cNvGraphicFramePr>
          <p:nvPr userDrawn="1">
            <p:custDataLst>
              <p:tags r:id="rId31"/>
            </p:custDataLst>
            <p:extLst>
              <p:ext uri="{D42A27DB-BD31-4B8C-83A1-F6EECF244321}">
                <p14:modId xmlns:p14="http://schemas.microsoft.com/office/powerpoint/2010/main" val="2896417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7772400" imgH="10058400" progId="TCLayout.ActiveDocument.1">
                  <p:embed/>
                </p:oleObj>
              </mc:Choice>
              <mc:Fallback>
                <p:oleObj name="think-cell Slide" r:id="rId32" imgW="7772400" imgH="10058400" progId="TCLayout.ActiveDocument.1">
                  <p:embed/>
                  <p:pic>
                    <p:nvPicPr>
                      <p:cNvPr id="2" name="Object 1" hidden="1">
                        <a:extLst>
                          <a:ext uri="{FF2B5EF4-FFF2-40B4-BE49-F238E27FC236}">
                            <a16:creationId xmlns:a16="http://schemas.microsoft.com/office/drawing/2014/main" id="{D14347D0-009A-A143-90C0-48C2648172AE}"/>
                          </a:ext>
                        </a:extLst>
                      </p:cNvPr>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Rectangle 1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4271480506"/>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8EF945-1369-8240-AA93-4FA492C2136A}"/>
              </a:ext>
            </a:extLst>
          </p:cNvPr>
          <p:cNvGraphicFramePr>
            <a:graphicFrameLocks noChangeAspect="1"/>
          </p:cNvGraphicFramePr>
          <p:nvPr userDrawn="1">
            <p:custDataLst>
              <p:tags r:id="rId30"/>
            </p:custDataLst>
            <p:extLst>
              <p:ext uri="{D42A27DB-BD31-4B8C-83A1-F6EECF244321}">
                <p14:modId xmlns:p14="http://schemas.microsoft.com/office/powerpoint/2010/main" val="2339473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B88EF945-1369-8240-AA93-4FA492C2136A}"/>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3709746794"/>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xml"/><Relationship Id="rId7" Type="http://schemas.openxmlformats.org/officeDocument/2006/relationships/image" Target="../media/image35.png"/><Relationship Id="rId12" Type="http://schemas.openxmlformats.org/officeDocument/2006/relationships/image" Target="../media/image39.emf"/><Relationship Id="rId2" Type="http://schemas.openxmlformats.org/officeDocument/2006/relationships/slideLayout" Target="../slideLayouts/slideLayout6.xml"/><Relationship Id="rId1" Type="http://schemas.openxmlformats.org/officeDocument/2006/relationships/tags" Target="../tags/tag108.xml"/><Relationship Id="rId6" Type="http://schemas.openxmlformats.org/officeDocument/2006/relationships/image" Target="../media/image34.png"/><Relationship Id="rId11" Type="http://schemas.openxmlformats.org/officeDocument/2006/relationships/oleObject" Target="../embeddings/oleObject20.bin"/><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jpeg"/><Relationship Id="rId9" Type="http://schemas.openxmlformats.org/officeDocument/2006/relationships/image" Target="../media/image37.png"/></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oleObject" Target="../embeddings/oleObject27.bin"/><Relationship Id="rId7" Type="http://schemas.openxmlformats.org/officeDocument/2006/relationships/image" Target="../media/image64.jpeg"/><Relationship Id="rId12" Type="http://schemas.openxmlformats.org/officeDocument/2006/relationships/image" Target="../media/image69.png"/><Relationship Id="rId2" Type="http://schemas.openxmlformats.org/officeDocument/2006/relationships/slideLayout" Target="../slideLayouts/slideLayout6.xml"/><Relationship Id="rId16" Type="http://schemas.openxmlformats.org/officeDocument/2006/relationships/image" Target="../media/image73.png"/><Relationship Id="rId1" Type="http://schemas.openxmlformats.org/officeDocument/2006/relationships/tags" Target="../tags/tag126.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2.png"/><Relationship Id="rId10" Type="http://schemas.openxmlformats.org/officeDocument/2006/relationships/image" Target="../media/image67.png"/><Relationship Id="rId4" Type="http://schemas.openxmlformats.org/officeDocument/2006/relationships/image" Target="../media/image61.emf"/><Relationship Id="rId9" Type="http://schemas.openxmlformats.org/officeDocument/2006/relationships/image" Target="../media/image66.png"/><Relationship Id="rId14" Type="http://schemas.openxmlformats.org/officeDocument/2006/relationships/image" Target="../media/image71.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xml"/><Relationship Id="rId1" Type="http://schemas.openxmlformats.org/officeDocument/2006/relationships/tags" Target="../tags/tag127.xml"/><Relationship Id="rId5" Type="http://schemas.openxmlformats.org/officeDocument/2006/relationships/image" Target="../media/image74.tiff"/><Relationship Id="rId4" Type="http://schemas.openxmlformats.org/officeDocument/2006/relationships/image" Target="../media/image6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128.xml"/><Relationship Id="rId5" Type="http://schemas.openxmlformats.org/officeDocument/2006/relationships/image" Target="../media/image76.jpeg"/><Relationship Id="rId4" Type="http://schemas.openxmlformats.org/officeDocument/2006/relationships/image" Target="../media/image75.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xml"/><Relationship Id="rId1" Type="http://schemas.openxmlformats.org/officeDocument/2006/relationships/tags" Target="../tags/tag129.xml"/><Relationship Id="rId5" Type="http://schemas.openxmlformats.org/officeDocument/2006/relationships/image" Target="../media/image74.tiff"/><Relationship Id="rId4" Type="http://schemas.openxmlformats.org/officeDocument/2006/relationships/image" Target="../media/image6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0.xml"/><Relationship Id="rId6" Type="http://schemas.openxmlformats.org/officeDocument/2006/relationships/image" Target="../media/image77.jpeg"/><Relationship Id="rId5" Type="http://schemas.openxmlformats.org/officeDocument/2006/relationships/image" Target="../media/image59.emf"/><Relationship Id="rId4" Type="http://schemas.openxmlformats.org/officeDocument/2006/relationships/oleObject" Target="../embeddings/oleObject31.bin"/></Relationships>
</file>

<file path=ppt/slides/_rels/slide15.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notesSlide" Target="../notesSlides/notesSlide4.xml"/><Relationship Id="rId7" Type="http://schemas.openxmlformats.org/officeDocument/2006/relationships/image" Target="../media/image79.jpeg"/><Relationship Id="rId2" Type="http://schemas.openxmlformats.org/officeDocument/2006/relationships/slideLayout" Target="../slideLayouts/slideLayout6.xml"/><Relationship Id="rId1" Type="http://schemas.openxmlformats.org/officeDocument/2006/relationships/tags" Target="../tags/tag131.xml"/><Relationship Id="rId6" Type="http://schemas.openxmlformats.org/officeDocument/2006/relationships/image" Target="../media/image78.jpeg"/><Relationship Id="rId5" Type="http://schemas.openxmlformats.org/officeDocument/2006/relationships/image" Target="../media/image59.emf"/><Relationship Id="rId4" Type="http://schemas.openxmlformats.org/officeDocument/2006/relationships/oleObject" Target="../embeddings/oleObject32.bin"/><Relationship Id="rId9" Type="http://schemas.openxmlformats.org/officeDocument/2006/relationships/image" Target="../media/image8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32.xml"/><Relationship Id="rId5" Type="http://schemas.openxmlformats.org/officeDocument/2006/relationships/image" Target="../media/image10.emf"/><Relationship Id="rId4" Type="http://schemas.openxmlformats.org/officeDocument/2006/relationships/oleObject" Target="../embeddings/oleObject33.bin"/></Relationships>
</file>

<file path=ppt/slides/_rels/slide1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387.xml"/><Relationship Id="rId4" Type="http://schemas.openxmlformats.org/officeDocument/2006/relationships/image" Target="../media/image4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109.xml"/><Relationship Id="rId5" Type="http://schemas.openxmlformats.org/officeDocument/2006/relationships/image" Target="../media/image43.png"/><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slideLayout" Target="../slideLayouts/slideLayout6.xml"/><Relationship Id="rId18" Type="http://schemas.openxmlformats.org/officeDocument/2006/relationships/image" Target="../media/image45.png"/><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chart" Target="../charts/chart2.xml"/><Relationship Id="rId2" Type="http://schemas.openxmlformats.org/officeDocument/2006/relationships/tags" Target="../tags/tag111.xml"/><Relationship Id="rId16" Type="http://schemas.openxmlformats.org/officeDocument/2006/relationships/chart" Target="../charts/chart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image" Target="../media/image44.emf"/><Relationship Id="rId10" Type="http://schemas.openxmlformats.org/officeDocument/2006/relationships/tags" Target="../tags/tag119.xml"/><Relationship Id="rId19" Type="http://schemas.openxmlformats.org/officeDocument/2006/relationships/chart" Target="../charts/chart3.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oleObject" Target="../embeddings/oleObject22.bin"/></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oleObject" Target="../embeddings/oleObject23.bin"/><Relationship Id="rId7" Type="http://schemas.openxmlformats.org/officeDocument/2006/relationships/image" Target="../media/image48.png"/><Relationship Id="rId2" Type="http://schemas.openxmlformats.org/officeDocument/2006/relationships/slideLayout" Target="../slideLayouts/slideLayout6.xml"/><Relationship Id="rId1" Type="http://schemas.openxmlformats.org/officeDocument/2006/relationships/tags" Target="../tags/tag12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0.emf"/><Relationship Id="rId9" Type="http://schemas.openxmlformats.org/officeDocument/2006/relationships/image" Target="../media/image50.png"/></Relationships>
</file>

<file path=ppt/slides/_rels/slide7.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oleObject" Target="../embeddings/oleObject24.bin"/><Relationship Id="rId7" Type="http://schemas.openxmlformats.org/officeDocument/2006/relationships/image" Target="../media/image53.png"/><Relationship Id="rId2" Type="http://schemas.openxmlformats.org/officeDocument/2006/relationships/slideLayout" Target="../slideLayouts/slideLayout6.xml"/><Relationship Id="rId1" Type="http://schemas.openxmlformats.org/officeDocument/2006/relationships/tags" Target="../tags/tag123.xml"/><Relationship Id="rId6" Type="http://schemas.openxmlformats.org/officeDocument/2006/relationships/image" Target="../media/image52.jpeg"/><Relationship Id="rId5" Type="http://schemas.openxmlformats.org/officeDocument/2006/relationships/image" Target="../media/image51.jpeg"/><Relationship Id="rId10" Type="http://schemas.openxmlformats.org/officeDocument/2006/relationships/image" Target="../media/image56.jpeg"/><Relationship Id="rId4" Type="http://schemas.openxmlformats.org/officeDocument/2006/relationships/image" Target="../media/image10.emf"/><Relationship Id="rId9" Type="http://schemas.openxmlformats.org/officeDocument/2006/relationships/image" Target="../media/image55.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124.xml"/><Relationship Id="rId5" Type="http://schemas.openxmlformats.org/officeDocument/2006/relationships/image" Target="../media/image58.png"/><Relationship Id="rId4" Type="http://schemas.openxmlformats.org/officeDocument/2006/relationships/image" Target="../media/image57.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25.xml"/><Relationship Id="rId6" Type="http://schemas.openxmlformats.org/officeDocument/2006/relationships/image" Target="../media/image60.jpeg"/><Relationship Id="rId5" Type="http://schemas.openxmlformats.org/officeDocument/2006/relationships/image" Target="../media/image59.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C9EAC56-F249-4CC9-8A8D-9FC98BE9907A}"/>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0" y="0"/>
            <a:ext cx="7676699" cy="6858000"/>
          </a:xfrm>
          <a:prstGeom prst="rect">
            <a:avLst/>
          </a:prstGeom>
        </p:spPr>
      </p:pic>
      <p:grpSp>
        <p:nvGrpSpPr>
          <p:cNvPr id="26" name="Group 25">
            <a:extLst>
              <a:ext uri="{FF2B5EF4-FFF2-40B4-BE49-F238E27FC236}">
                <a16:creationId xmlns:a16="http://schemas.microsoft.com/office/drawing/2014/main" id="{CEEB49E6-B54E-4740-901D-C92F78B8D535}"/>
              </a:ext>
            </a:extLst>
          </p:cNvPr>
          <p:cNvGrpSpPr/>
          <p:nvPr/>
        </p:nvGrpSpPr>
        <p:grpSpPr>
          <a:xfrm>
            <a:off x="264417" y="6212294"/>
            <a:ext cx="6452624" cy="719750"/>
            <a:chOff x="5390426" y="6212294"/>
            <a:chExt cx="6452624" cy="719750"/>
          </a:xfrm>
        </p:grpSpPr>
        <p:sp>
          <p:nvSpPr>
            <p:cNvPr id="27" name="TextBox 26">
              <a:extLst>
                <a:ext uri="{FF2B5EF4-FFF2-40B4-BE49-F238E27FC236}">
                  <a16:creationId xmlns:a16="http://schemas.microsoft.com/office/drawing/2014/main" id="{0D00C847-3091-4021-BB25-B5766C88D461}"/>
                </a:ext>
              </a:extLst>
            </p:cNvPr>
            <p:cNvSpPr txBox="1"/>
            <p:nvPr/>
          </p:nvSpPr>
          <p:spPr>
            <a:xfrm>
              <a:off x="5390426" y="6282784"/>
              <a:ext cx="1457318" cy="92333"/>
            </a:xfrm>
            <a:prstGeom prst="rect">
              <a:avLst/>
            </a:prstGeom>
            <a:noFill/>
            <a:effectLst/>
          </p:spPr>
          <p:txBody>
            <a:bodyPr wrap="square" lIns="0" tIns="0" rIns="0" bIns="0" rtlCol="0">
              <a:spAutoFit/>
            </a:bodyPr>
            <a:lstStyle/>
            <a:p>
              <a:pPr algn="l"/>
              <a:r>
                <a:rPr lang="en-US" sz="600">
                  <a:solidFill>
                    <a:schemeClr val="bg1"/>
                  </a:solidFill>
                  <a:effectLst/>
                </a:rPr>
                <a:t>Part of Liberty Latin America</a:t>
              </a:r>
            </a:p>
          </p:txBody>
        </p:sp>
        <p:pic>
          <p:nvPicPr>
            <p:cNvPr id="28" name="Picture 27">
              <a:extLst>
                <a:ext uri="{FF2B5EF4-FFF2-40B4-BE49-F238E27FC236}">
                  <a16:creationId xmlns:a16="http://schemas.microsoft.com/office/drawing/2014/main" id="{06B7ABF1-3D76-4DEB-83B5-FFEAE86C6FD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332402" y="6433869"/>
              <a:ext cx="718544" cy="295016"/>
            </a:xfrm>
            <a:prstGeom prst="rect">
              <a:avLst/>
            </a:prstGeom>
          </p:spPr>
        </p:pic>
        <p:pic>
          <p:nvPicPr>
            <p:cNvPr id="29" name="Picture 28">
              <a:extLst>
                <a:ext uri="{FF2B5EF4-FFF2-40B4-BE49-F238E27FC236}">
                  <a16:creationId xmlns:a16="http://schemas.microsoft.com/office/drawing/2014/main" id="{3D3E1A83-F621-467E-BB4C-2FEC79FDA9DD}"/>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377959" y="6402702"/>
              <a:ext cx="465091" cy="320407"/>
            </a:xfrm>
            <a:prstGeom prst="rect">
              <a:avLst/>
            </a:prstGeom>
          </p:spPr>
        </p:pic>
        <p:pic>
          <p:nvPicPr>
            <p:cNvPr id="30" name="Picture 29">
              <a:extLst>
                <a:ext uri="{FF2B5EF4-FFF2-40B4-BE49-F238E27FC236}">
                  <a16:creationId xmlns:a16="http://schemas.microsoft.com/office/drawing/2014/main" id="{90D7BA32-AB8E-460B-B09F-B8BCC9A090C1}"/>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394695" y="6457360"/>
              <a:ext cx="1186126" cy="248034"/>
            </a:xfrm>
            <a:prstGeom prst="rect">
              <a:avLst/>
            </a:prstGeom>
          </p:spPr>
        </p:pic>
        <p:pic>
          <p:nvPicPr>
            <p:cNvPr id="31" name="Picture 30">
              <a:extLst>
                <a:ext uri="{FF2B5EF4-FFF2-40B4-BE49-F238E27FC236}">
                  <a16:creationId xmlns:a16="http://schemas.microsoft.com/office/drawing/2014/main" id="{FB37489C-29F2-4D3B-92B6-C9BC924A2987}"/>
                </a:ext>
              </a:extLst>
            </p:cNvPr>
            <p:cNvPicPr>
              <a:picLocks noChangeAspect="1"/>
            </p:cNvPicPr>
            <p:nvPr/>
          </p:nvPicPr>
          <p:blipFill>
            <a:blip r:embed="rId8">
              <a:biLevel thresh="50000"/>
              <a:extLst>
                <a:ext uri="{28A0092B-C50C-407E-A947-70E740481C1C}">
                  <a14:useLocalDpi xmlns:a14="http://schemas.microsoft.com/office/drawing/2010/main"/>
                </a:ext>
              </a:extLst>
            </a:blip>
            <a:stretch>
              <a:fillRect/>
            </a:stretch>
          </p:blipFill>
          <p:spPr>
            <a:xfrm>
              <a:off x="7936070" y="6249182"/>
              <a:ext cx="682862" cy="682862"/>
            </a:xfrm>
            <a:prstGeom prst="rect">
              <a:avLst/>
            </a:prstGeom>
          </p:spPr>
        </p:pic>
        <p:pic>
          <p:nvPicPr>
            <p:cNvPr id="32" name="Picture 31">
              <a:extLst>
                <a:ext uri="{FF2B5EF4-FFF2-40B4-BE49-F238E27FC236}">
                  <a16:creationId xmlns:a16="http://schemas.microsoft.com/office/drawing/2014/main" id="{0E042072-9839-4503-BC5B-7A46F017F09C}"/>
                </a:ext>
              </a:extLst>
            </p:cNvPr>
            <p:cNvPicPr>
              <a:picLocks noChangeAspect="1"/>
            </p:cNvPicPr>
            <p:nvPr/>
          </p:nvPicPr>
          <p:blipFill>
            <a:blip r:embed="rId9">
              <a:biLevel thresh="25000"/>
              <a:extLst>
                <a:ext uri="{28A0092B-C50C-407E-A947-70E740481C1C}">
                  <a14:useLocalDpi xmlns:a14="http://schemas.microsoft.com/office/drawing/2010/main"/>
                </a:ext>
              </a:extLst>
            </a:blip>
            <a:stretch>
              <a:fillRect/>
            </a:stretch>
          </p:blipFill>
          <p:spPr>
            <a:xfrm>
              <a:off x="6907834" y="6212294"/>
              <a:ext cx="701223" cy="701223"/>
            </a:xfrm>
            <a:prstGeom prst="rect">
              <a:avLst/>
            </a:prstGeom>
          </p:spPr>
        </p:pic>
        <p:pic>
          <p:nvPicPr>
            <p:cNvPr id="33" name="Picture 32">
              <a:extLst>
                <a:ext uri="{FF2B5EF4-FFF2-40B4-BE49-F238E27FC236}">
                  <a16:creationId xmlns:a16="http://schemas.microsoft.com/office/drawing/2014/main" id="{8514D9FE-A90C-4F32-A226-2B5AAE25D3C1}"/>
                </a:ext>
              </a:extLst>
            </p:cNvPr>
            <p:cNvPicPr>
              <a:picLocks noChangeAspect="1"/>
            </p:cNvPicPr>
            <p:nvPr/>
          </p:nvPicPr>
          <p:blipFill>
            <a:blip r:embed="rId10">
              <a:biLevel thresh="25000"/>
            </a:blip>
            <a:stretch>
              <a:fillRect/>
            </a:stretch>
          </p:blipFill>
          <p:spPr>
            <a:xfrm>
              <a:off x="8945945" y="6483718"/>
              <a:ext cx="1059444" cy="250735"/>
            </a:xfrm>
            <a:prstGeom prst="rect">
              <a:avLst/>
            </a:prstGeom>
          </p:spPr>
        </p:pic>
      </p:grpSp>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19242B3-3435-47B1-9889-6143762367FE}"/>
              </a:ext>
            </a:extLst>
          </p:cNvPr>
          <p:cNvSpPr/>
          <p:nvPr/>
        </p:nvSpPr>
        <p:spPr>
          <a:xfrm>
            <a:off x="6988693" y="0"/>
            <a:ext cx="52033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9B41E3D-AB57-4548-8F48-80E8188A4F77}"/>
              </a:ext>
            </a:extLst>
          </p:cNvPr>
          <p:cNvSpPr/>
          <p:nvPr/>
        </p:nvSpPr>
        <p:spPr>
          <a:xfrm>
            <a:off x="7623539" y="-5762"/>
            <a:ext cx="4568461" cy="6863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F557898B-1E0A-43D0-9845-9A310B47E05F}"/>
              </a:ext>
            </a:extLst>
          </p:cNvPr>
          <p:cNvGrpSpPr/>
          <p:nvPr/>
        </p:nvGrpSpPr>
        <p:grpSpPr>
          <a:xfrm>
            <a:off x="6891415" y="0"/>
            <a:ext cx="1224155" cy="6858000"/>
            <a:chOff x="6470882" y="0"/>
            <a:chExt cx="1224155" cy="6858000"/>
          </a:xfrm>
        </p:grpSpPr>
        <p:sp>
          <p:nvSpPr>
            <p:cNvPr id="17" name="Rectangle 16">
              <a:extLst>
                <a:ext uri="{FF2B5EF4-FFF2-40B4-BE49-F238E27FC236}">
                  <a16:creationId xmlns:a16="http://schemas.microsoft.com/office/drawing/2014/main" id="{03A9A002-E1B8-45A4-87C2-6E413CD326CF}"/>
                </a:ext>
              </a:extLst>
            </p:cNvPr>
            <p:cNvSpPr/>
            <p:nvPr/>
          </p:nvSpPr>
          <p:spPr>
            <a:xfrm>
              <a:off x="7120240" y="0"/>
              <a:ext cx="43774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31845EF-74FF-44E1-BFB1-890DD43EAE33}"/>
                </a:ext>
              </a:extLst>
            </p:cNvPr>
            <p:cNvSpPr/>
            <p:nvPr/>
          </p:nvSpPr>
          <p:spPr>
            <a:xfrm>
              <a:off x="7490846" y="0"/>
              <a:ext cx="2041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EA11412-25D1-48CE-A106-9913100A104E}"/>
                </a:ext>
              </a:extLst>
            </p:cNvPr>
            <p:cNvSpPr/>
            <p:nvPr/>
          </p:nvSpPr>
          <p:spPr>
            <a:xfrm>
              <a:off x="6859325" y="0"/>
              <a:ext cx="204282"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A3138D4-C051-4F87-B229-AA9A9848C21A}"/>
                </a:ext>
              </a:extLst>
            </p:cNvPr>
            <p:cNvSpPr/>
            <p:nvPr/>
          </p:nvSpPr>
          <p:spPr>
            <a:xfrm>
              <a:off x="6558632" y="0"/>
              <a:ext cx="32101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F04D6DB-B6F3-4C65-8C45-A9EC653BEC11}"/>
                </a:ext>
              </a:extLst>
            </p:cNvPr>
            <p:cNvSpPr/>
            <p:nvPr/>
          </p:nvSpPr>
          <p:spPr>
            <a:xfrm>
              <a:off x="6470882" y="0"/>
              <a:ext cx="9727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7A1F1CD-7CF6-4890-A4E1-2413BC119597}"/>
                </a:ext>
              </a:extLst>
            </p:cNvPr>
            <p:cNvSpPr/>
            <p:nvPr/>
          </p:nvSpPr>
          <p:spPr>
            <a:xfrm>
              <a:off x="7032486" y="0"/>
              <a:ext cx="97279"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52E2E33-A681-4B10-816B-04714D32A03A}"/>
                </a:ext>
              </a:extLst>
            </p:cNvPr>
            <p:cNvSpPr/>
            <p:nvPr/>
          </p:nvSpPr>
          <p:spPr>
            <a:xfrm>
              <a:off x="7410396" y="0"/>
              <a:ext cx="11673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4" name="Title 1">
            <a:extLst>
              <a:ext uri="{FF2B5EF4-FFF2-40B4-BE49-F238E27FC236}">
                <a16:creationId xmlns:a16="http://schemas.microsoft.com/office/drawing/2014/main" id="{93C547B7-07CE-A7D0-1450-99015E6839B1}"/>
              </a:ext>
            </a:extLst>
          </p:cNvPr>
          <p:cNvSpPr txBox="1">
            <a:spLocks/>
          </p:cNvSpPr>
          <p:nvPr/>
        </p:nvSpPr>
        <p:spPr>
          <a:xfrm>
            <a:off x="8101891" y="1558289"/>
            <a:ext cx="4090109" cy="936886"/>
          </a:xfrm>
          <a:prstGeom prst="rect">
            <a:avLst/>
          </a:prstGeom>
        </p:spPr>
        <p:txBody>
          <a:bodyPr>
            <a:noAutofit/>
          </a:bodyPr>
          <a:lstStyle>
            <a:lvl1pPr algn="l" defTabSz="685800" rtl="0" eaLnBrk="1" latinLnBrk="0" hangingPunct="1">
              <a:lnSpc>
                <a:spcPct val="90000"/>
              </a:lnSpc>
              <a:spcBef>
                <a:spcPct val="0"/>
              </a:spcBef>
              <a:buNone/>
              <a:defRPr sz="1400" kern="1200">
                <a:solidFill>
                  <a:schemeClr val="tx1"/>
                </a:solidFill>
                <a:latin typeface="+mj-lt"/>
                <a:ea typeface="+mj-ea"/>
                <a:cs typeface="+mj-cs"/>
              </a:defRPr>
            </a:lvl1pPr>
          </a:lstStyle>
          <a:p>
            <a:pPr>
              <a:lnSpc>
                <a:spcPts val="5000"/>
              </a:lnSpc>
            </a:pPr>
            <a:r>
              <a:rPr lang="en-US" sz="3600" b="1" dirty="0">
                <a:solidFill>
                  <a:schemeClr val="tx2">
                    <a:lumMod val="75000"/>
                  </a:schemeClr>
                </a:solidFill>
              </a:rPr>
              <a:t>THE FUTURE OF BROADBAND IN THE CARIBBEAN</a:t>
            </a:r>
          </a:p>
          <a:p>
            <a:pPr>
              <a:lnSpc>
                <a:spcPts val="5000"/>
              </a:lnSpc>
            </a:pPr>
            <a:endParaRPr lang="en-US" sz="2000" b="1" dirty="0">
              <a:solidFill>
                <a:schemeClr val="accent1"/>
              </a:solidFill>
            </a:endParaRPr>
          </a:p>
          <a:p>
            <a:pPr>
              <a:lnSpc>
                <a:spcPts val="5000"/>
              </a:lnSpc>
            </a:pPr>
            <a:r>
              <a:rPr lang="en-US" sz="2000" b="1" dirty="0">
                <a:solidFill>
                  <a:schemeClr val="accent1"/>
                </a:solidFill>
              </a:rPr>
              <a:t>LIBERTY LATIN AMERICA</a:t>
            </a:r>
          </a:p>
          <a:p>
            <a:pPr>
              <a:lnSpc>
                <a:spcPts val="5000"/>
              </a:lnSpc>
            </a:pPr>
            <a:r>
              <a:rPr lang="en-US" sz="2800" b="1" dirty="0">
                <a:solidFill>
                  <a:schemeClr val="tx2">
                    <a:lumMod val="75000"/>
                  </a:schemeClr>
                </a:solidFill>
              </a:rPr>
              <a:t>AAMIR HUSSAIN</a:t>
            </a:r>
          </a:p>
        </p:txBody>
      </p:sp>
    </p:spTree>
    <p:extLst>
      <p:ext uri="{BB962C8B-B14F-4D97-AF65-F5344CB8AC3E}">
        <p14:creationId xmlns:p14="http://schemas.microsoft.com/office/powerpoint/2010/main" val="3776206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9DA093-BC64-CAD8-2915-599DB72F0F22}"/>
              </a:ext>
            </a:extLst>
          </p:cNvPr>
          <p:cNvGraphicFramePr>
            <a:graphicFrameLocks noChangeAspect="1"/>
          </p:cNvGraphicFramePr>
          <p:nvPr>
            <p:custDataLst>
              <p:tags r:id="rId1"/>
            </p:custDataLst>
            <p:extLst>
              <p:ext uri="{D42A27DB-BD31-4B8C-83A1-F6EECF244321}">
                <p14:modId xmlns:p14="http://schemas.microsoft.com/office/powerpoint/2010/main" val="12394381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E9DA093-BC64-CAD8-2915-599DB72F0F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299544AA-D597-C34F-AD45-354CC551B3BA}"/>
              </a:ext>
            </a:extLst>
          </p:cNvPr>
          <p:cNvSpPr txBox="1"/>
          <p:nvPr/>
        </p:nvSpPr>
        <p:spPr>
          <a:xfrm>
            <a:off x="383275" y="4792050"/>
            <a:ext cx="1868099" cy="784830"/>
          </a:xfrm>
          <a:prstGeom prst="rect">
            <a:avLst/>
          </a:prstGeom>
          <a:noFill/>
        </p:spPr>
        <p:txBody>
          <a:bodyPr wrap="square" rtlCol="0" anchor="t">
            <a:spAutoFit/>
          </a:bodyPr>
          <a:lstStyle/>
          <a:p>
            <a:pPr algn="ctr">
              <a:lnSpc>
                <a:spcPts val="1750"/>
              </a:lnSpc>
              <a:spcBef>
                <a:spcPts val="900"/>
              </a:spcBef>
            </a:pPr>
            <a:r>
              <a:rPr lang="en-US" sz="1600" b="1" dirty="0">
                <a:latin typeface="Lato Light" panose="020F0502020204030203" pitchFamily="34" charset="0"/>
                <a:ea typeface="Lato Light" panose="020F0502020204030203" pitchFamily="34" charset="0"/>
                <a:cs typeface="Lato Light" panose="020F0502020204030203" pitchFamily="34" charset="0"/>
              </a:rPr>
              <a:t>From a single connected device per household</a:t>
            </a:r>
          </a:p>
        </p:txBody>
      </p:sp>
      <p:sp>
        <p:nvSpPr>
          <p:cNvPr id="49" name="Title 1">
            <a:extLst>
              <a:ext uri="{FF2B5EF4-FFF2-40B4-BE49-F238E27FC236}">
                <a16:creationId xmlns:a16="http://schemas.microsoft.com/office/drawing/2014/main" id="{20034B4C-4CF0-D993-14A6-D0980BD397EE}"/>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Connected Devices and Services Driving Consumption</a:t>
            </a:r>
          </a:p>
        </p:txBody>
      </p:sp>
      <p:sp>
        <p:nvSpPr>
          <p:cNvPr id="111" name="TextBox 110">
            <a:extLst>
              <a:ext uri="{FF2B5EF4-FFF2-40B4-BE49-F238E27FC236}">
                <a16:creationId xmlns:a16="http://schemas.microsoft.com/office/drawing/2014/main" id="{BCAD687F-9220-65B8-0A14-47B12B563D9E}"/>
              </a:ext>
            </a:extLst>
          </p:cNvPr>
          <p:cNvSpPr txBox="1"/>
          <p:nvPr/>
        </p:nvSpPr>
        <p:spPr>
          <a:xfrm>
            <a:off x="9321800" y="3407144"/>
            <a:ext cx="2096699" cy="1015663"/>
          </a:xfrm>
          <a:prstGeom prst="rect">
            <a:avLst/>
          </a:prstGeom>
          <a:noFill/>
        </p:spPr>
        <p:txBody>
          <a:bodyPr wrap="square" rtlCol="0" anchor="t">
            <a:spAutoFit/>
          </a:bodyPr>
          <a:lstStyle/>
          <a:p>
            <a:pPr algn="ctr">
              <a:lnSpc>
                <a:spcPts val="1750"/>
              </a:lnSpc>
              <a:spcBef>
                <a:spcPts val="900"/>
              </a:spcBef>
            </a:pPr>
            <a:r>
              <a:rPr lang="en-US" sz="1600" b="1" dirty="0">
                <a:latin typeface="Lato Light" panose="020F0502020204030203" pitchFamily="34" charset="0"/>
                <a:ea typeface="Lato Light" panose="020F0502020204030203" pitchFamily="34" charset="0"/>
                <a:cs typeface="Lato Light" panose="020F0502020204030203" pitchFamily="34" charset="0"/>
              </a:rPr>
              <a:t>Plus, multiple Smart Home devices connected per household</a:t>
            </a:r>
          </a:p>
        </p:txBody>
      </p:sp>
      <p:pic>
        <p:nvPicPr>
          <p:cNvPr id="2" name="Picture 1">
            <a:extLst>
              <a:ext uri="{FF2B5EF4-FFF2-40B4-BE49-F238E27FC236}">
                <a16:creationId xmlns:a16="http://schemas.microsoft.com/office/drawing/2014/main" id="{8DC7B1A8-821B-7B18-62F7-87BEBB5D84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259" y="2427484"/>
            <a:ext cx="2922034" cy="2387600"/>
          </a:xfrm>
          <a:prstGeom prst="rect">
            <a:avLst/>
          </a:prstGeom>
        </p:spPr>
      </p:pic>
      <p:pic>
        <p:nvPicPr>
          <p:cNvPr id="3" name="Picture 2">
            <a:extLst>
              <a:ext uri="{FF2B5EF4-FFF2-40B4-BE49-F238E27FC236}">
                <a16:creationId xmlns:a16="http://schemas.microsoft.com/office/drawing/2014/main" id="{B7F555D6-8185-5E16-21DE-2E11E973126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27359" y="2363370"/>
            <a:ext cx="3652010" cy="2515829"/>
          </a:xfrm>
          <a:prstGeom prst="rect">
            <a:avLst/>
          </a:prstGeom>
        </p:spPr>
      </p:pic>
      <p:pic>
        <p:nvPicPr>
          <p:cNvPr id="6" name="Picture 5" descr="A picture containing text, indoor, electronics, computer&#10;&#10;Description automatically generated">
            <a:extLst>
              <a:ext uri="{FF2B5EF4-FFF2-40B4-BE49-F238E27FC236}">
                <a16:creationId xmlns:a16="http://schemas.microsoft.com/office/drawing/2014/main" id="{937CA482-A00A-A0B1-C5DB-0AB0AFC90E6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84435" y="1433317"/>
            <a:ext cx="3907565" cy="1953783"/>
          </a:xfrm>
          <a:prstGeom prst="rect">
            <a:avLst/>
          </a:prstGeom>
        </p:spPr>
      </p:pic>
      <p:pic>
        <p:nvPicPr>
          <p:cNvPr id="9" name="Picture 8">
            <a:extLst>
              <a:ext uri="{FF2B5EF4-FFF2-40B4-BE49-F238E27FC236}">
                <a16:creationId xmlns:a16="http://schemas.microsoft.com/office/drawing/2014/main" id="{FA152D77-D68E-B099-F57D-CCE8A92564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089401" y="793423"/>
            <a:ext cx="3009811" cy="1698176"/>
          </a:xfrm>
          <a:prstGeom prst="rect">
            <a:avLst/>
          </a:prstGeom>
        </p:spPr>
      </p:pic>
      <p:sp>
        <p:nvSpPr>
          <p:cNvPr id="110" name="TextBox 109">
            <a:extLst>
              <a:ext uri="{FF2B5EF4-FFF2-40B4-BE49-F238E27FC236}">
                <a16:creationId xmlns:a16="http://schemas.microsoft.com/office/drawing/2014/main" id="{3871237F-F1FE-644C-C799-9404C9351ED3}"/>
              </a:ext>
            </a:extLst>
          </p:cNvPr>
          <p:cNvSpPr txBox="1"/>
          <p:nvPr/>
        </p:nvSpPr>
        <p:spPr>
          <a:xfrm>
            <a:off x="4852568" y="4312677"/>
            <a:ext cx="1962890" cy="1246495"/>
          </a:xfrm>
          <a:prstGeom prst="rect">
            <a:avLst/>
          </a:prstGeom>
          <a:noFill/>
        </p:spPr>
        <p:txBody>
          <a:bodyPr wrap="square" rtlCol="0" anchor="t">
            <a:spAutoFit/>
          </a:bodyPr>
          <a:lstStyle/>
          <a:p>
            <a:pPr algn="ctr">
              <a:lnSpc>
                <a:spcPts val="1750"/>
              </a:lnSpc>
              <a:spcBef>
                <a:spcPts val="900"/>
              </a:spcBef>
            </a:pPr>
            <a:r>
              <a:rPr lang="en-US" sz="1600" b="1" dirty="0">
                <a:latin typeface="Lato Light" panose="020F0502020204030203" pitchFamily="34" charset="0"/>
                <a:ea typeface="Lato Light" panose="020F0502020204030203" pitchFamily="34" charset="0"/>
                <a:cs typeface="Lato Light" panose="020F0502020204030203" pitchFamily="34" charset="0"/>
              </a:rPr>
              <a:t>To multiple connected devices with streaming video per person per household</a:t>
            </a:r>
          </a:p>
        </p:txBody>
      </p:sp>
      <p:sp>
        <p:nvSpPr>
          <p:cNvPr id="16" name="TextBox 15">
            <a:extLst>
              <a:ext uri="{FF2B5EF4-FFF2-40B4-BE49-F238E27FC236}">
                <a16:creationId xmlns:a16="http://schemas.microsoft.com/office/drawing/2014/main" id="{D71B797D-5919-7AEE-A1CC-45F31D839EA0}"/>
              </a:ext>
            </a:extLst>
          </p:cNvPr>
          <p:cNvSpPr txBox="1"/>
          <p:nvPr/>
        </p:nvSpPr>
        <p:spPr>
          <a:xfrm>
            <a:off x="7618" y="5594587"/>
            <a:ext cx="12191999" cy="861774"/>
          </a:xfrm>
          <a:prstGeom prst="rect">
            <a:avLst/>
          </a:prstGeom>
          <a:solidFill>
            <a:schemeClr val="accent4"/>
          </a:solidFill>
          <a:ln>
            <a:solidFill>
              <a:srgbClr val="0070C0"/>
            </a:solidFill>
          </a:ln>
        </p:spPr>
        <p:txBody>
          <a:bodyPr wrap="square" lIns="0" tIns="0" rIns="0" bIns="0" rtlCol="0">
            <a:spAutoFit/>
          </a:bodyPr>
          <a:lstStyle/>
          <a:p>
            <a:pPr algn="ctr"/>
            <a:r>
              <a:rPr lang="en-US" sz="2800" dirty="0">
                <a:solidFill>
                  <a:schemeClr val="bg1"/>
                </a:solidFill>
              </a:rPr>
              <a:t>Average of 16 connected devices per home in 2022 vs 13 in 2021, expected to grow 70% by 2025</a:t>
            </a:r>
          </a:p>
        </p:txBody>
      </p:sp>
      <p:pic>
        <p:nvPicPr>
          <p:cNvPr id="4106" name="Picture 10" descr="Image result for netflix logo">
            <a:extLst>
              <a:ext uri="{FF2B5EF4-FFF2-40B4-BE49-F238E27FC236}">
                <a16:creationId xmlns:a16="http://schemas.microsoft.com/office/drawing/2014/main" id="{1AB7C1E6-069E-12B1-EBA6-9B889C23591C}"/>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271352" y="1113959"/>
            <a:ext cx="583862" cy="389242"/>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Image result for amazon prime logo">
            <a:extLst>
              <a:ext uri="{FF2B5EF4-FFF2-40B4-BE49-F238E27FC236}">
                <a16:creationId xmlns:a16="http://schemas.microsoft.com/office/drawing/2014/main" id="{3155A9CF-F3F0-36DD-D1C2-524DE424D5D0}"/>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248588" y="1638844"/>
            <a:ext cx="866712" cy="866712"/>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Image result for youtube logo">
            <a:extLst>
              <a:ext uri="{FF2B5EF4-FFF2-40B4-BE49-F238E27FC236}">
                <a16:creationId xmlns:a16="http://schemas.microsoft.com/office/drawing/2014/main" id="{D623BC31-9259-38D6-95BE-5B372614E78F}"/>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963336" y="1244352"/>
            <a:ext cx="698209" cy="698209"/>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Image result for disney plus logo">
            <a:extLst>
              <a:ext uri="{FF2B5EF4-FFF2-40B4-BE49-F238E27FC236}">
                <a16:creationId xmlns:a16="http://schemas.microsoft.com/office/drawing/2014/main" id="{F279135F-14E8-9D7D-DE63-5BF075004CF7}"/>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8312440" y="909818"/>
            <a:ext cx="806099" cy="537399"/>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a:extLst>
              <a:ext uri="{FF2B5EF4-FFF2-40B4-BE49-F238E27FC236}">
                <a16:creationId xmlns:a16="http://schemas.microsoft.com/office/drawing/2014/main" id="{ED061F7E-444F-73F1-40C7-4CF4845DD044}"/>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1418499" y="731128"/>
            <a:ext cx="546100" cy="546100"/>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descr="Hulu Logo | significado del logotipo, png, vector">
            <a:extLst>
              <a:ext uri="{FF2B5EF4-FFF2-40B4-BE49-F238E27FC236}">
                <a16:creationId xmlns:a16="http://schemas.microsoft.com/office/drawing/2014/main" id="{40B8EFB3-B5D9-6739-00D4-B941D2F17C48}"/>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9023134" y="1265558"/>
            <a:ext cx="755650" cy="475285"/>
          </a:xfrm>
          <a:prstGeom prst="rect">
            <a:avLst/>
          </a:prstGeom>
          <a:noFill/>
          <a:extLst>
            <a:ext uri="{909E8E84-426E-40DD-AFC4-6F175D3DCCD1}">
              <a14:hiddenFill xmlns:a14="http://schemas.microsoft.com/office/drawing/2010/main">
                <a:solidFill>
                  <a:srgbClr val="FFFFFF"/>
                </a:solidFill>
              </a14:hiddenFill>
            </a:ext>
          </a:extLst>
        </p:spPr>
      </p:pic>
      <p:pic>
        <p:nvPicPr>
          <p:cNvPr id="4120" name="Picture 24" descr="Amazon Alexa Official Site: What is Alexa?">
            <a:extLst>
              <a:ext uri="{FF2B5EF4-FFF2-40B4-BE49-F238E27FC236}">
                <a16:creationId xmlns:a16="http://schemas.microsoft.com/office/drawing/2014/main" id="{B1F6C961-640D-F540-A8E8-C53E175E8B48}"/>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0202634" y="850434"/>
            <a:ext cx="792015" cy="527050"/>
          </a:xfrm>
          <a:prstGeom prst="rect">
            <a:avLst/>
          </a:prstGeom>
          <a:noFill/>
          <a:extLst>
            <a:ext uri="{909E8E84-426E-40DD-AFC4-6F175D3DCCD1}">
              <a14:hiddenFill xmlns:a14="http://schemas.microsoft.com/office/drawing/2010/main">
                <a:solidFill>
                  <a:srgbClr val="FFFFFF"/>
                </a:solidFill>
              </a14:hiddenFill>
            </a:ext>
          </a:extLst>
        </p:spPr>
      </p:pic>
      <p:pic>
        <p:nvPicPr>
          <p:cNvPr id="4122" name="Picture 26" descr="Apple logo and symbol, meaning, history, PNG">
            <a:extLst>
              <a:ext uri="{FF2B5EF4-FFF2-40B4-BE49-F238E27FC236}">
                <a16:creationId xmlns:a16="http://schemas.microsoft.com/office/drawing/2014/main" id="{62F59235-E0E8-6DBD-5589-27A543AA5414}"/>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477540" y="900774"/>
            <a:ext cx="602488" cy="337393"/>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7">
            <a:extLst>
              <a:ext uri="{FF2B5EF4-FFF2-40B4-BE49-F238E27FC236}">
                <a16:creationId xmlns:a16="http://schemas.microsoft.com/office/drawing/2014/main" id="{6239496A-F741-FD5C-3508-442D3947328D}"/>
              </a:ext>
            </a:extLst>
          </p:cNvPr>
          <p:cNvSpPr>
            <a:spLocks noGrp="1"/>
          </p:cNvSpPr>
          <p:nvPr>
            <p:ph type="ftr" sz="quarter" idx="3"/>
          </p:nvPr>
        </p:nvSpPr>
        <p:spPr/>
        <p:txBody>
          <a:bodyPr/>
          <a:lstStyle/>
          <a:p>
            <a:r>
              <a:rPr lang="en-US" dirty="0"/>
              <a:t>LIBERTY LATIN AMERICA | CANTO 2022 | JULY 18</a:t>
            </a:r>
          </a:p>
        </p:txBody>
      </p:sp>
      <p:sp>
        <p:nvSpPr>
          <p:cNvPr id="10" name="Slide Number Placeholder 9">
            <a:extLst>
              <a:ext uri="{FF2B5EF4-FFF2-40B4-BE49-F238E27FC236}">
                <a16:creationId xmlns:a16="http://schemas.microsoft.com/office/drawing/2014/main" id="{968124C9-7307-3116-C6EB-08388AE5ADDD}"/>
              </a:ext>
            </a:extLst>
          </p:cNvPr>
          <p:cNvSpPr>
            <a:spLocks noGrp="1"/>
          </p:cNvSpPr>
          <p:nvPr>
            <p:ph type="sldNum" sz="quarter" idx="4"/>
          </p:nvPr>
        </p:nvSpPr>
        <p:spPr/>
        <p:txBody>
          <a:bodyPr/>
          <a:lstStyle/>
          <a:p>
            <a:fld id="{496097A3-845D-4C79-9B10-713A18711759}" type="slidenum">
              <a:rPr lang="en-US" smtClean="0"/>
              <a:pPr/>
              <a:t>10</a:t>
            </a:fld>
            <a:endParaRPr lang="en-US"/>
          </a:p>
        </p:txBody>
      </p:sp>
      <p:sp>
        <p:nvSpPr>
          <p:cNvPr id="25" name="TextBox 24">
            <a:extLst>
              <a:ext uri="{FF2B5EF4-FFF2-40B4-BE49-F238E27FC236}">
                <a16:creationId xmlns:a16="http://schemas.microsoft.com/office/drawing/2014/main" id="{B70CA65C-DBFD-DE22-2203-3E04E1FCC7F9}"/>
              </a:ext>
            </a:extLst>
          </p:cNvPr>
          <p:cNvSpPr txBox="1"/>
          <p:nvPr/>
        </p:nvSpPr>
        <p:spPr>
          <a:xfrm>
            <a:off x="3946456" y="6456681"/>
            <a:ext cx="7778633" cy="430887"/>
          </a:xfrm>
          <a:prstGeom prst="rect">
            <a:avLst/>
          </a:prstGeom>
          <a:noFill/>
        </p:spPr>
        <p:txBody>
          <a:bodyPr wrap="square">
            <a:spAutoFit/>
          </a:bodyPr>
          <a:lstStyle/>
          <a:p>
            <a:r>
              <a:rPr lang="en-US" sz="1100" dirty="0"/>
              <a:t>SOURCE: www.parksassociates.com/blog/article/04272022 and www.researchgate.net/figure/Internet-of-Things-IoT-connected-devices-from-2015-to-2025-in-billions_fig1_325645304 </a:t>
            </a:r>
          </a:p>
        </p:txBody>
      </p:sp>
    </p:spTree>
    <p:extLst>
      <p:ext uri="{BB962C8B-B14F-4D97-AF65-F5344CB8AC3E}">
        <p14:creationId xmlns:p14="http://schemas.microsoft.com/office/powerpoint/2010/main" val="2424744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9DA093-BC64-CAD8-2915-599DB72F0F22}"/>
              </a:ext>
            </a:extLst>
          </p:cNvPr>
          <p:cNvGraphicFramePr>
            <a:graphicFrameLocks noChangeAspect="1"/>
          </p:cNvGraphicFramePr>
          <p:nvPr>
            <p:custDataLst>
              <p:tags r:id="rId1"/>
            </p:custDataLst>
            <p:extLst>
              <p:ext uri="{D42A27DB-BD31-4B8C-83A1-F6EECF244321}">
                <p14:modId xmlns:p14="http://schemas.microsoft.com/office/powerpoint/2010/main" val="4113545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E9DA093-BC64-CAD8-2915-599DB72F0F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62A0CCA8-D05F-74EA-1652-3C97C69604DD}"/>
              </a:ext>
            </a:extLst>
          </p:cNvPr>
          <p:cNvPicPr>
            <a:picLocks noChangeAspect="1"/>
          </p:cNvPicPr>
          <p:nvPr/>
        </p:nvPicPr>
        <p:blipFill>
          <a:blip r:embed="rId5">
            <a:alphaModFix amt="11000"/>
          </a:blip>
          <a:stretch>
            <a:fillRect/>
          </a:stretch>
        </p:blipFill>
        <p:spPr>
          <a:xfrm>
            <a:off x="-1" y="0"/>
            <a:ext cx="12192001" cy="6858000"/>
          </a:xfrm>
          <a:prstGeom prst="rect">
            <a:avLst/>
          </a:prstGeom>
        </p:spPr>
      </p:pic>
      <p:sp>
        <p:nvSpPr>
          <p:cNvPr id="14" name="Shape 53">
            <a:extLst>
              <a:ext uri="{FF2B5EF4-FFF2-40B4-BE49-F238E27FC236}">
                <a16:creationId xmlns:a16="http://schemas.microsoft.com/office/drawing/2014/main" id="{F1819757-BD36-9C47-9065-991E22DDB693}"/>
              </a:ext>
            </a:extLst>
          </p:cNvPr>
          <p:cNvSpPr/>
          <p:nvPr/>
        </p:nvSpPr>
        <p:spPr>
          <a:xfrm>
            <a:off x="459342" y="2106248"/>
            <a:ext cx="2037141" cy="2045298"/>
          </a:xfrm>
          <a:prstGeom prst="ellipse">
            <a:avLst/>
          </a:prstGeom>
          <a:solidFill>
            <a:schemeClr val="bg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24" name="TextBox 23">
            <a:extLst>
              <a:ext uri="{FF2B5EF4-FFF2-40B4-BE49-F238E27FC236}">
                <a16:creationId xmlns:a16="http://schemas.microsoft.com/office/drawing/2014/main" id="{299544AA-D597-C34F-AD45-354CC551B3BA}"/>
              </a:ext>
            </a:extLst>
          </p:cNvPr>
          <p:cNvSpPr txBox="1"/>
          <p:nvPr/>
        </p:nvSpPr>
        <p:spPr>
          <a:xfrm>
            <a:off x="650255" y="918642"/>
            <a:ext cx="1623046" cy="534505"/>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Total Internet Users</a:t>
            </a:r>
          </a:p>
        </p:txBody>
      </p:sp>
      <p:sp>
        <p:nvSpPr>
          <p:cNvPr id="28" name="Shape 53">
            <a:extLst>
              <a:ext uri="{FF2B5EF4-FFF2-40B4-BE49-F238E27FC236}">
                <a16:creationId xmlns:a16="http://schemas.microsoft.com/office/drawing/2014/main" id="{C1A29D65-602E-590A-7E27-74FF2390CB5D}"/>
              </a:ext>
            </a:extLst>
          </p:cNvPr>
          <p:cNvSpPr/>
          <p:nvPr/>
        </p:nvSpPr>
        <p:spPr>
          <a:xfrm>
            <a:off x="2750590" y="2106248"/>
            <a:ext cx="2037141" cy="2045298"/>
          </a:xfrm>
          <a:prstGeom prst="ellipse">
            <a:avLst/>
          </a:prstGeom>
          <a:solidFill>
            <a:schemeClr val="accent6">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29" name="Shape 53">
            <a:extLst>
              <a:ext uri="{FF2B5EF4-FFF2-40B4-BE49-F238E27FC236}">
                <a16:creationId xmlns:a16="http://schemas.microsoft.com/office/drawing/2014/main" id="{35D59C78-B984-85A6-0E01-AE96527579BA}"/>
              </a:ext>
            </a:extLst>
          </p:cNvPr>
          <p:cNvSpPr/>
          <p:nvPr/>
        </p:nvSpPr>
        <p:spPr>
          <a:xfrm>
            <a:off x="5041838" y="2106248"/>
            <a:ext cx="2037141" cy="2045298"/>
          </a:xfrm>
          <a:prstGeom prst="ellipse">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0" name="Shape 53">
            <a:extLst>
              <a:ext uri="{FF2B5EF4-FFF2-40B4-BE49-F238E27FC236}">
                <a16:creationId xmlns:a16="http://schemas.microsoft.com/office/drawing/2014/main" id="{2AE40188-B917-0790-4531-8858589607EF}"/>
              </a:ext>
            </a:extLst>
          </p:cNvPr>
          <p:cNvSpPr/>
          <p:nvPr/>
        </p:nvSpPr>
        <p:spPr>
          <a:xfrm>
            <a:off x="7333086" y="2106248"/>
            <a:ext cx="2037141" cy="2045298"/>
          </a:xfrm>
          <a:prstGeom prst="ellipse">
            <a:avLst/>
          </a:prstGeom>
          <a:solidFill>
            <a:schemeClr val="bg1">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1" name="Shape 53">
            <a:extLst>
              <a:ext uri="{FF2B5EF4-FFF2-40B4-BE49-F238E27FC236}">
                <a16:creationId xmlns:a16="http://schemas.microsoft.com/office/drawing/2014/main" id="{D10B8604-E015-D5C9-7901-C24FD7306825}"/>
              </a:ext>
            </a:extLst>
          </p:cNvPr>
          <p:cNvSpPr/>
          <p:nvPr/>
        </p:nvSpPr>
        <p:spPr>
          <a:xfrm>
            <a:off x="9624334" y="2106248"/>
            <a:ext cx="2037141" cy="2045298"/>
          </a:xfrm>
          <a:prstGeom prst="ellipse">
            <a:avLst/>
          </a:prstGeom>
          <a:solidFill>
            <a:schemeClr val="accent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2" name="Freeform 31">
            <a:extLst>
              <a:ext uri="{FF2B5EF4-FFF2-40B4-BE49-F238E27FC236}">
                <a16:creationId xmlns:a16="http://schemas.microsoft.com/office/drawing/2014/main" id="{0B2EBFE4-65DA-A284-3F77-38B9FCF33E94}"/>
              </a:ext>
            </a:extLst>
          </p:cNvPr>
          <p:cNvSpPr>
            <a:spLocks noChangeArrowheads="1"/>
          </p:cNvSpPr>
          <p:nvPr/>
        </p:nvSpPr>
        <p:spPr bwMode="auto">
          <a:xfrm>
            <a:off x="830366" y="2657127"/>
            <a:ext cx="1295091" cy="943540"/>
          </a:xfrm>
          <a:custGeom>
            <a:avLst/>
            <a:gdLst>
              <a:gd name="connsiteX0" fmla="*/ 40308 w 374291"/>
              <a:gd name="connsiteY0" fmla="*/ 250825 h 272690"/>
              <a:gd name="connsiteX1" fmla="*/ 44105 w 374291"/>
              <a:gd name="connsiteY1" fmla="*/ 254621 h 272690"/>
              <a:gd name="connsiteX2" fmla="*/ 40308 w 374291"/>
              <a:gd name="connsiteY2" fmla="*/ 258417 h 272690"/>
              <a:gd name="connsiteX3" fmla="*/ 36512 w 374291"/>
              <a:gd name="connsiteY3" fmla="*/ 254621 h 272690"/>
              <a:gd name="connsiteX4" fmla="*/ 40308 w 374291"/>
              <a:gd name="connsiteY4" fmla="*/ 250825 h 272690"/>
              <a:gd name="connsiteX5" fmla="*/ 9708 w 374291"/>
              <a:gd name="connsiteY5" fmla="*/ 248161 h 272690"/>
              <a:gd name="connsiteX6" fmla="*/ 9708 w 374291"/>
              <a:gd name="connsiteY6" fmla="*/ 259344 h 272690"/>
              <a:gd name="connsiteX7" fmla="*/ 12944 w 374291"/>
              <a:gd name="connsiteY7" fmla="*/ 262951 h 272690"/>
              <a:gd name="connsiteX8" fmla="*/ 67955 w 374291"/>
              <a:gd name="connsiteY8" fmla="*/ 262951 h 272690"/>
              <a:gd name="connsiteX9" fmla="*/ 71191 w 374291"/>
              <a:gd name="connsiteY9" fmla="*/ 259344 h 272690"/>
              <a:gd name="connsiteX10" fmla="*/ 71191 w 374291"/>
              <a:gd name="connsiteY10" fmla="*/ 248161 h 272690"/>
              <a:gd name="connsiteX11" fmla="*/ 309562 w 374291"/>
              <a:gd name="connsiteY11" fmla="*/ 244475 h 272690"/>
              <a:gd name="connsiteX12" fmla="*/ 315559 w 374291"/>
              <a:gd name="connsiteY12" fmla="*/ 250653 h 272690"/>
              <a:gd name="connsiteX13" fmla="*/ 309562 w 374291"/>
              <a:gd name="connsiteY13" fmla="*/ 256832 h 272690"/>
              <a:gd name="connsiteX14" fmla="*/ 303212 w 374291"/>
              <a:gd name="connsiteY14" fmla="*/ 250653 h 272690"/>
              <a:gd name="connsiteX15" fmla="*/ 309562 w 374291"/>
              <a:gd name="connsiteY15" fmla="*/ 244475 h 272690"/>
              <a:gd name="connsiteX16" fmla="*/ 255639 w 374291"/>
              <a:gd name="connsiteY16" fmla="*/ 240226 h 272690"/>
              <a:gd name="connsiteX17" fmla="*/ 255639 w 374291"/>
              <a:gd name="connsiteY17" fmla="*/ 255015 h 272690"/>
              <a:gd name="connsiteX18" fmla="*/ 263190 w 374291"/>
              <a:gd name="connsiteY18" fmla="*/ 262951 h 272690"/>
              <a:gd name="connsiteX19" fmla="*/ 357032 w 374291"/>
              <a:gd name="connsiteY19" fmla="*/ 262951 h 272690"/>
              <a:gd name="connsiteX20" fmla="*/ 364583 w 374291"/>
              <a:gd name="connsiteY20" fmla="*/ 255015 h 272690"/>
              <a:gd name="connsiteX21" fmla="*/ 364583 w 374291"/>
              <a:gd name="connsiteY21" fmla="*/ 240226 h 272690"/>
              <a:gd name="connsiteX22" fmla="*/ 133393 w 374291"/>
              <a:gd name="connsiteY22" fmla="*/ 195860 h 272690"/>
              <a:gd name="connsiteX23" fmla="*/ 133393 w 374291"/>
              <a:gd name="connsiteY23" fmla="*/ 217863 h 272690"/>
              <a:gd name="connsiteX24" fmla="*/ 117213 w 374291"/>
              <a:gd name="connsiteY24" fmla="*/ 253212 h 272690"/>
              <a:gd name="connsiteX25" fmla="*/ 116494 w 374291"/>
              <a:gd name="connsiteY25" fmla="*/ 256819 h 272690"/>
              <a:gd name="connsiteX26" fmla="*/ 119370 w 374291"/>
              <a:gd name="connsiteY26" fmla="*/ 258622 h 272690"/>
              <a:gd name="connsiteX27" fmla="*/ 209617 w 374291"/>
              <a:gd name="connsiteY27" fmla="*/ 258622 h 272690"/>
              <a:gd name="connsiteX28" fmla="*/ 212493 w 374291"/>
              <a:gd name="connsiteY28" fmla="*/ 256819 h 272690"/>
              <a:gd name="connsiteX29" fmla="*/ 211415 w 374291"/>
              <a:gd name="connsiteY29" fmla="*/ 253212 h 272690"/>
              <a:gd name="connsiteX30" fmla="*/ 195235 w 374291"/>
              <a:gd name="connsiteY30" fmla="*/ 217863 h 272690"/>
              <a:gd name="connsiteX31" fmla="*/ 195235 w 374291"/>
              <a:gd name="connsiteY31" fmla="*/ 195860 h 272690"/>
              <a:gd name="connsiteX32" fmla="*/ 168103 w 374291"/>
              <a:gd name="connsiteY32" fmla="*/ 163512 h 272690"/>
              <a:gd name="connsiteX33" fmla="*/ 174282 w 374291"/>
              <a:gd name="connsiteY33" fmla="*/ 169690 h 272690"/>
              <a:gd name="connsiteX34" fmla="*/ 168103 w 374291"/>
              <a:gd name="connsiteY34" fmla="*/ 175869 h 272690"/>
              <a:gd name="connsiteX35" fmla="*/ 161925 w 374291"/>
              <a:gd name="connsiteY35" fmla="*/ 169690 h 272690"/>
              <a:gd name="connsiteX36" fmla="*/ 168103 w 374291"/>
              <a:gd name="connsiteY36" fmla="*/ 163512 h 272690"/>
              <a:gd name="connsiteX37" fmla="*/ 80899 w 374291"/>
              <a:gd name="connsiteY37" fmla="*/ 155101 h 272690"/>
              <a:gd name="connsiteX38" fmla="*/ 80899 w 374291"/>
              <a:gd name="connsiteY38" fmla="*/ 185760 h 272690"/>
              <a:gd name="connsiteX39" fmla="*/ 123685 w 374291"/>
              <a:gd name="connsiteY39" fmla="*/ 185760 h 272690"/>
              <a:gd name="connsiteX40" fmla="*/ 204943 w 374291"/>
              <a:gd name="connsiteY40" fmla="*/ 185760 h 272690"/>
              <a:gd name="connsiteX41" fmla="*/ 245932 w 374291"/>
              <a:gd name="connsiteY41" fmla="*/ 185760 h 272690"/>
              <a:gd name="connsiteX42" fmla="*/ 245932 w 374291"/>
              <a:gd name="connsiteY42" fmla="*/ 155101 h 272690"/>
              <a:gd name="connsiteX43" fmla="*/ 12944 w 374291"/>
              <a:gd name="connsiteY43" fmla="*/ 134902 h 272690"/>
              <a:gd name="connsiteX44" fmla="*/ 9708 w 374291"/>
              <a:gd name="connsiteY44" fmla="*/ 138509 h 272690"/>
              <a:gd name="connsiteX45" fmla="*/ 9708 w 374291"/>
              <a:gd name="connsiteY45" fmla="*/ 238423 h 272690"/>
              <a:gd name="connsiteX46" fmla="*/ 71191 w 374291"/>
              <a:gd name="connsiteY46" fmla="*/ 238423 h 272690"/>
              <a:gd name="connsiteX47" fmla="*/ 71191 w 374291"/>
              <a:gd name="connsiteY47" fmla="*/ 195860 h 272690"/>
              <a:gd name="connsiteX48" fmla="*/ 71191 w 374291"/>
              <a:gd name="connsiteY48" fmla="*/ 138509 h 272690"/>
              <a:gd name="connsiteX49" fmla="*/ 67955 w 374291"/>
              <a:gd name="connsiteY49" fmla="*/ 134902 h 272690"/>
              <a:gd name="connsiteX50" fmla="*/ 21213 w 374291"/>
              <a:gd name="connsiteY50" fmla="*/ 134902 h 272690"/>
              <a:gd name="connsiteX51" fmla="*/ 263190 w 374291"/>
              <a:gd name="connsiteY51" fmla="*/ 86568 h 272690"/>
              <a:gd name="connsiteX52" fmla="*/ 255639 w 374291"/>
              <a:gd name="connsiteY52" fmla="*/ 94142 h 272690"/>
              <a:gd name="connsiteX53" fmla="*/ 255639 w 374291"/>
              <a:gd name="connsiteY53" fmla="*/ 195860 h 272690"/>
              <a:gd name="connsiteX54" fmla="*/ 255639 w 374291"/>
              <a:gd name="connsiteY54" fmla="*/ 230487 h 272690"/>
              <a:gd name="connsiteX55" fmla="*/ 364583 w 374291"/>
              <a:gd name="connsiteY55" fmla="*/ 230487 h 272690"/>
              <a:gd name="connsiteX56" fmla="*/ 364583 w 374291"/>
              <a:gd name="connsiteY56" fmla="*/ 94142 h 272690"/>
              <a:gd name="connsiteX57" fmla="*/ 357032 w 374291"/>
              <a:gd name="connsiteY57" fmla="*/ 86568 h 272690"/>
              <a:gd name="connsiteX58" fmla="*/ 307414 w 374291"/>
              <a:gd name="connsiteY58" fmla="*/ 86568 h 272690"/>
              <a:gd name="connsiteX59" fmla="*/ 38112 w 374291"/>
              <a:gd name="connsiteY59" fmla="*/ 9739 h 272690"/>
              <a:gd name="connsiteX60" fmla="*/ 30921 w 374291"/>
              <a:gd name="connsiteY60" fmla="*/ 17313 h 272690"/>
              <a:gd name="connsiteX61" fmla="*/ 30921 w 374291"/>
              <a:gd name="connsiteY61" fmla="*/ 125163 h 272690"/>
              <a:gd name="connsiteX62" fmla="*/ 67955 w 374291"/>
              <a:gd name="connsiteY62" fmla="*/ 125163 h 272690"/>
              <a:gd name="connsiteX63" fmla="*/ 80899 w 374291"/>
              <a:gd name="connsiteY63" fmla="*/ 138509 h 272690"/>
              <a:gd name="connsiteX64" fmla="*/ 80899 w 374291"/>
              <a:gd name="connsiteY64" fmla="*/ 145362 h 272690"/>
              <a:gd name="connsiteX65" fmla="*/ 245932 w 374291"/>
              <a:gd name="connsiteY65" fmla="*/ 145362 h 272690"/>
              <a:gd name="connsiteX66" fmla="*/ 245932 w 374291"/>
              <a:gd name="connsiteY66" fmla="*/ 94142 h 272690"/>
              <a:gd name="connsiteX67" fmla="*/ 247370 w 374291"/>
              <a:gd name="connsiteY67" fmla="*/ 87289 h 272690"/>
              <a:gd name="connsiteX68" fmla="*/ 263190 w 374291"/>
              <a:gd name="connsiteY68" fmla="*/ 76829 h 272690"/>
              <a:gd name="connsiteX69" fmla="*/ 298066 w 374291"/>
              <a:gd name="connsiteY69" fmla="*/ 76829 h 272690"/>
              <a:gd name="connsiteX70" fmla="*/ 298066 w 374291"/>
              <a:gd name="connsiteY70" fmla="*/ 17313 h 272690"/>
              <a:gd name="connsiteX71" fmla="*/ 290516 w 374291"/>
              <a:gd name="connsiteY71" fmla="*/ 9739 h 272690"/>
              <a:gd name="connsiteX72" fmla="*/ 38112 w 374291"/>
              <a:gd name="connsiteY72" fmla="*/ 0 h 272690"/>
              <a:gd name="connsiteX73" fmla="*/ 290516 w 374291"/>
              <a:gd name="connsiteY73" fmla="*/ 0 h 272690"/>
              <a:gd name="connsiteX74" fmla="*/ 307414 w 374291"/>
              <a:gd name="connsiteY74" fmla="*/ 17313 h 272690"/>
              <a:gd name="connsiteX75" fmla="*/ 307414 w 374291"/>
              <a:gd name="connsiteY75" fmla="*/ 76829 h 272690"/>
              <a:gd name="connsiteX76" fmla="*/ 357032 w 374291"/>
              <a:gd name="connsiteY76" fmla="*/ 76829 h 272690"/>
              <a:gd name="connsiteX77" fmla="*/ 374291 w 374291"/>
              <a:gd name="connsiteY77" fmla="*/ 94142 h 272690"/>
              <a:gd name="connsiteX78" fmla="*/ 374291 w 374291"/>
              <a:gd name="connsiteY78" fmla="*/ 255015 h 272690"/>
              <a:gd name="connsiteX79" fmla="*/ 357032 w 374291"/>
              <a:gd name="connsiteY79" fmla="*/ 272690 h 272690"/>
              <a:gd name="connsiteX80" fmla="*/ 263190 w 374291"/>
              <a:gd name="connsiteY80" fmla="*/ 272690 h 272690"/>
              <a:gd name="connsiteX81" fmla="*/ 245932 w 374291"/>
              <a:gd name="connsiteY81" fmla="*/ 255015 h 272690"/>
              <a:gd name="connsiteX82" fmla="*/ 245932 w 374291"/>
              <a:gd name="connsiteY82" fmla="*/ 195860 h 272690"/>
              <a:gd name="connsiteX83" fmla="*/ 204943 w 374291"/>
              <a:gd name="connsiteY83" fmla="*/ 195860 h 272690"/>
              <a:gd name="connsiteX84" fmla="*/ 204943 w 374291"/>
              <a:gd name="connsiteY84" fmla="*/ 217863 h 272690"/>
              <a:gd name="connsiteX85" fmla="*/ 217527 w 374291"/>
              <a:gd name="connsiteY85" fmla="*/ 245637 h 272690"/>
              <a:gd name="connsiteX86" fmla="*/ 221482 w 374291"/>
              <a:gd name="connsiteY86" fmla="*/ 260065 h 272690"/>
              <a:gd name="connsiteX87" fmla="*/ 209617 w 374291"/>
              <a:gd name="connsiteY87" fmla="*/ 268722 h 272690"/>
              <a:gd name="connsiteX88" fmla="*/ 119370 w 374291"/>
              <a:gd name="connsiteY88" fmla="*/ 268722 h 272690"/>
              <a:gd name="connsiteX89" fmla="*/ 107146 w 374291"/>
              <a:gd name="connsiteY89" fmla="*/ 260065 h 272690"/>
              <a:gd name="connsiteX90" fmla="*/ 111101 w 374291"/>
              <a:gd name="connsiteY90" fmla="*/ 245637 h 272690"/>
              <a:gd name="connsiteX91" fmla="*/ 123685 w 374291"/>
              <a:gd name="connsiteY91" fmla="*/ 217863 h 272690"/>
              <a:gd name="connsiteX92" fmla="*/ 123685 w 374291"/>
              <a:gd name="connsiteY92" fmla="*/ 195860 h 272690"/>
              <a:gd name="connsiteX93" fmla="*/ 80899 w 374291"/>
              <a:gd name="connsiteY93" fmla="*/ 195860 h 272690"/>
              <a:gd name="connsiteX94" fmla="*/ 80899 w 374291"/>
              <a:gd name="connsiteY94" fmla="*/ 259344 h 272690"/>
              <a:gd name="connsiteX95" fmla="*/ 67955 w 374291"/>
              <a:gd name="connsiteY95" fmla="*/ 272690 h 272690"/>
              <a:gd name="connsiteX96" fmla="*/ 12944 w 374291"/>
              <a:gd name="connsiteY96" fmla="*/ 272690 h 272690"/>
              <a:gd name="connsiteX97" fmla="*/ 0 w 374291"/>
              <a:gd name="connsiteY97" fmla="*/ 259344 h 272690"/>
              <a:gd name="connsiteX98" fmla="*/ 0 w 374291"/>
              <a:gd name="connsiteY98" fmla="*/ 138509 h 272690"/>
              <a:gd name="connsiteX99" fmla="*/ 12944 w 374291"/>
              <a:gd name="connsiteY99" fmla="*/ 125163 h 272690"/>
              <a:gd name="connsiteX100" fmla="*/ 21213 w 374291"/>
              <a:gd name="connsiteY100" fmla="*/ 125163 h 272690"/>
              <a:gd name="connsiteX101" fmla="*/ 21213 w 374291"/>
              <a:gd name="connsiteY101" fmla="*/ 17313 h 272690"/>
              <a:gd name="connsiteX102" fmla="*/ 38112 w 374291"/>
              <a:gd name="connsiteY102"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74291" h="272690">
                <a:moveTo>
                  <a:pt x="40308" y="250825"/>
                </a:moveTo>
                <a:cubicBezTo>
                  <a:pt x="42379" y="250825"/>
                  <a:pt x="44105" y="252551"/>
                  <a:pt x="44105" y="254621"/>
                </a:cubicBezTo>
                <a:cubicBezTo>
                  <a:pt x="44105" y="257037"/>
                  <a:pt x="42379" y="258417"/>
                  <a:pt x="40308" y="258417"/>
                </a:cubicBezTo>
                <a:cubicBezTo>
                  <a:pt x="38238" y="258417"/>
                  <a:pt x="36512" y="257037"/>
                  <a:pt x="36512" y="254621"/>
                </a:cubicBezTo>
                <a:cubicBezTo>
                  <a:pt x="36512" y="252551"/>
                  <a:pt x="38238" y="250825"/>
                  <a:pt x="40308" y="250825"/>
                </a:cubicBezTo>
                <a:close/>
                <a:moveTo>
                  <a:pt x="9708" y="248161"/>
                </a:moveTo>
                <a:lnTo>
                  <a:pt x="9708" y="259344"/>
                </a:lnTo>
                <a:cubicBezTo>
                  <a:pt x="9708" y="261147"/>
                  <a:pt x="11506" y="262951"/>
                  <a:pt x="12944" y="262951"/>
                </a:cubicBezTo>
                <a:lnTo>
                  <a:pt x="67955" y="262951"/>
                </a:lnTo>
                <a:cubicBezTo>
                  <a:pt x="69753" y="262951"/>
                  <a:pt x="71191" y="261147"/>
                  <a:pt x="71191" y="259344"/>
                </a:cubicBezTo>
                <a:lnTo>
                  <a:pt x="71191" y="248161"/>
                </a:lnTo>
                <a:close/>
                <a:moveTo>
                  <a:pt x="309562" y="244475"/>
                </a:moveTo>
                <a:cubicBezTo>
                  <a:pt x="312737" y="244475"/>
                  <a:pt x="315559" y="247221"/>
                  <a:pt x="315559" y="250653"/>
                </a:cubicBezTo>
                <a:cubicBezTo>
                  <a:pt x="315559" y="254086"/>
                  <a:pt x="312737" y="256832"/>
                  <a:pt x="309562" y="256832"/>
                </a:cubicBezTo>
                <a:cubicBezTo>
                  <a:pt x="306034" y="256832"/>
                  <a:pt x="303212" y="254086"/>
                  <a:pt x="303212" y="250653"/>
                </a:cubicBezTo>
                <a:cubicBezTo>
                  <a:pt x="303212" y="247221"/>
                  <a:pt x="306034" y="244475"/>
                  <a:pt x="309562" y="244475"/>
                </a:cubicBezTo>
                <a:close/>
                <a:moveTo>
                  <a:pt x="255639" y="240226"/>
                </a:moveTo>
                <a:lnTo>
                  <a:pt x="255639" y="255015"/>
                </a:lnTo>
                <a:cubicBezTo>
                  <a:pt x="255639" y="259344"/>
                  <a:pt x="258875" y="262951"/>
                  <a:pt x="263190" y="262951"/>
                </a:cubicBezTo>
                <a:lnTo>
                  <a:pt x="357032" y="262951"/>
                </a:lnTo>
                <a:cubicBezTo>
                  <a:pt x="361347" y="262951"/>
                  <a:pt x="364583" y="259344"/>
                  <a:pt x="364583" y="255015"/>
                </a:cubicBezTo>
                <a:lnTo>
                  <a:pt x="364583" y="240226"/>
                </a:lnTo>
                <a:close/>
                <a:moveTo>
                  <a:pt x="133393" y="195860"/>
                </a:moveTo>
                <a:lnTo>
                  <a:pt x="133393" y="217863"/>
                </a:lnTo>
                <a:cubicBezTo>
                  <a:pt x="133393" y="231930"/>
                  <a:pt x="127640" y="244554"/>
                  <a:pt x="117213" y="253212"/>
                </a:cubicBezTo>
                <a:cubicBezTo>
                  <a:pt x="115775" y="254655"/>
                  <a:pt x="116134" y="256097"/>
                  <a:pt x="116494" y="256819"/>
                </a:cubicBezTo>
                <a:cubicBezTo>
                  <a:pt x="116494" y="257179"/>
                  <a:pt x="117213" y="258622"/>
                  <a:pt x="119370" y="258622"/>
                </a:cubicBezTo>
                <a:lnTo>
                  <a:pt x="209617" y="258622"/>
                </a:lnTo>
                <a:cubicBezTo>
                  <a:pt x="211415" y="258622"/>
                  <a:pt x="212134" y="257179"/>
                  <a:pt x="212493" y="256819"/>
                </a:cubicBezTo>
                <a:cubicBezTo>
                  <a:pt x="212853" y="256097"/>
                  <a:pt x="212853" y="254655"/>
                  <a:pt x="211415" y="253212"/>
                </a:cubicBezTo>
                <a:cubicBezTo>
                  <a:pt x="200988" y="244554"/>
                  <a:pt x="195235" y="231930"/>
                  <a:pt x="195235" y="217863"/>
                </a:cubicBezTo>
                <a:lnTo>
                  <a:pt x="195235" y="195860"/>
                </a:lnTo>
                <a:close/>
                <a:moveTo>
                  <a:pt x="168103" y="163512"/>
                </a:moveTo>
                <a:cubicBezTo>
                  <a:pt x="171536" y="163512"/>
                  <a:pt x="174282" y="166258"/>
                  <a:pt x="174282" y="169690"/>
                </a:cubicBezTo>
                <a:cubicBezTo>
                  <a:pt x="174282" y="173123"/>
                  <a:pt x="171536" y="175869"/>
                  <a:pt x="168103" y="175869"/>
                </a:cubicBezTo>
                <a:cubicBezTo>
                  <a:pt x="164671" y="175869"/>
                  <a:pt x="161925" y="173123"/>
                  <a:pt x="161925" y="169690"/>
                </a:cubicBezTo>
                <a:cubicBezTo>
                  <a:pt x="161925" y="166258"/>
                  <a:pt x="164671" y="163512"/>
                  <a:pt x="168103" y="163512"/>
                </a:cubicBezTo>
                <a:close/>
                <a:moveTo>
                  <a:pt x="80899" y="155101"/>
                </a:moveTo>
                <a:lnTo>
                  <a:pt x="80899" y="185760"/>
                </a:lnTo>
                <a:lnTo>
                  <a:pt x="123685" y="185760"/>
                </a:lnTo>
                <a:lnTo>
                  <a:pt x="204943" y="185760"/>
                </a:lnTo>
                <a:lnTo>
                  <a:pt x="245932" y="185760"/>
                </a:lnTo>
                <a:lnTo>
                  <a:pt x="245932" y="155101"/>
                </a:lnTo>
                <a:close/>
                <a:moveTo>
                  <a:pt x="12944" y="134902"/>
                </a:moveTo>
                <a:cubicBezTo>
                  <a:pt x="11506" y="134902"/>
                  <a:pt x="9708" y="136705"/>
                  <a:pt x="9708" y="138509"/>
                </a:cubicBezTo>
                <a:lnTo>
                  <a:pt x="9708" y="238423"/>
                </a:lnTo>
                <a:lnTo>
                  <a:pt x="71191" y="238423"/>
                </a:lnTo>
                <a:lnTo>
                  <a:pt x="71191" y="195860"/>
                </a:lnTo>
                <a:lnTo>
                  <a:pt x="71191" y="138509"/>
                </a:lnTo>
                <a:cubicBezTo>
                  <a:pt x="71191" y="136705"/>
                  <a:pt x="69753" y="134902"/>
                  <a:pt x="67955" y="134902"/>
                </a:cubicBezTo>
                <a:lnTo>
                  <a:pt x="21213" y="134902"/>
                </a:lnTo>
                <a:close/>
                <a:moveTo>
                  <a:pt x="263190" y="86568"/>
                </a:moveTo>
                <a:cubicBezTo>
                  <a:pt x="258875" y="86568"/>
                  <a:pt x="255639" y="89814"/>
                  <a:pt x="255639" y="94142"/>
                </a:cubicBezTo>
                <a:lnTo>
                  <a:pt x="255639" y="195860"/>
                </a:lnTo>
                <a:lnTo>
                  <a:pt x="255639" y="230487"/>
                </a:lnTo>
                <a:lnTo>
                  <a:pt x="364583" y="230487"/>
                </a:lnTo>
                <a:lnTo>
                  <a:pt x="364583" y="94142"/>
                </a:lnTo>
                <a:cubicBezTo>
                  <a:pt x="364583" y="89814"/>
                  <a:pt x="361347" y="86568"/>
                  <a:pt x="357032" y="86568"/>
                </a:cubicBezTo>
                <a:lnTo>
                  <a:pt x="307414" y="86568"/>
                </a:lnTo>
                <a:close/>
                <a:moveTo>
                  <a:pt x="38112" y="9739"/>
                </a:moveTo>
                <a:cubicBezTo>
                  <a:pt x="34157" y="9739"/>
                  <a:pt x="30921" y="12985"/>
                  <a:pt x="30921" y="17313"/>
                </a:cubicBezTo>
                <a:lnTo>
                  <a:pt x="30921" y="125163"/>
                </a:lnTo>
                <a:lnTo>
                  <a:pt x="67955" y="125163"/>
                </a:lnTo>
                <a:cubicBezTo>
                  <a:pt x="75146" y="125163"/>
                  <a:pt x="80899" y="130934"/>
                  <a:pt x="80899" y="138509"/>
                </a:cubicBezTo>
                <a:lnTo>
                  <a:pt x="80899" y="145362"/>
                </a:lnTo>
                <a:lnTo>
                  <a:pt x="245932" y="145362"/>
                </a:lnTo>
                <a:lnTo>
                  <a:pt x="245932" y="94142"/>
                </a:lnTo>
                <a:cubicBezTo>
                  <a:pt x="245932" y="91618"/>
                  <a:pt x="246651" y="89453"/>
                  <a:pt x="247370" y="87289"/>
                </a:cubicBezTo>
                <a:cubicBezTo>
                  <a:pt x="249887" y="81157"/>
                  <a:pt x="255999" y="76829"/>
                  <a:pt x="263190" y="76829"/>
                </a:cubicBezTo>
                <a:lnTo>
                  <a:pt x="298066" y="76829"/>
                </a:lnTo>
                <a:lnTo>
                  <a:pt x="298066" y="17313"/>
                </a:lnTo>
                <a:cubicBezTo>
                  <a:pt x="298066" y="12985"/>
                  <a:pt x="294471" y="9739"/>
                  <a:pt x="290516" y="9739"/>
                </a:cubicBezTo>
                <a:close/>
                <a:moveTo>
                  <a:pt x="38112" y="0"/>
                </a:moveTo>
                <a:lnTo>
                  <a:pt x="290516" y="0"/>
                </a:lnTo>
                <a:cubicBezTo>
                  <a:pt x="300223" y="0"/>
                  <a:pt x="307414" y="7574"/>
                  <a:pt x="307414" y="17313"/>
                </a:cubicBezTo>
                <a:lnTo>
                  <a:pt x="307414" y="76829"/>
                </a:lnTo>
                <a:lnTo>
                  <a:pt x="357032" y="76829"/>
                </a:lnTo>
                <a:cubicBezTo>
                  <a:pt x="366740" y="76829"/>
                  <a:pt x="374291" y="84404"/>
                  <a:pt x="374291" y="94142"/>
                </a:cubicBezTo>
                <a:lnTo>
                  <a:pt x="374291" y="255015"/>
                </a:lnTo>
                <a:cubicBezTo>
                  <a:pt x="374291" y="264754"/>
                  <a:pt x="366740" y="272690"/>
                  <a:pt x="357032" y="272690"/>
                </a:cubicBezTo>
                <a:lnTo>
                  <a:pt x="263190" y="272690"/>
                </a:lnTo>
                <a:cubicBezTo>
                  <a:pt x="253482" y="272690"/>
                  <a:pt x="245932" y="264754"/>
                  <a:pt x="245932" y="255015"/>
                </a:cubicBezTo>
                <a:lnTo>
                  <a:pt x="245932" y="195860"/>
                </a:lnTo>
                <a:lnTo>
                  <a:pt x="204943" y="195860"/>
                </a:lnTo>
                <a:lnTo>
                  <a:pt x="204943" y="217863"/>
                </a:lnTo>
                <a:cubicBezTo>
                  <a:pt x="204943" y="228684"/>
                  <a:pt x="209617" y="238783"/>
                  <a:pt x="217527" y="245637"/>
                </a:cubicBezTo>
                <a:cubicBezTo>
                  <a:pt x="221842" y="249244"/>
                  <a:pt x="223280" y="254655"/>
                  <a:pt x="221482" y="260065"/>
                </a:cubicBezTo>
                <a:cubicBezTo>
                  <a:pt x="219684" y="265115"/>
                  <a:pt x="215010" y="268722"/>
                  <a:pt x="209617" y="268722"/>
                </a:cubicBezTo>
                <a:lnTo>
                  <a:pt x="119370" y="268722"/>
                </a:lnTo>
                <a:cubicBezTo>
                  <a:pt x="113618" y="268722"/>
                  <a:pt x="108943" y="265115"/>
                  <a:pt x="107146" y="260065"/>
                </a:cubicBezTo>
                <a:cubicBezTo>
                  <a:pt x="105348" y="254655"/>
                  <a:pt x="106786" y="249244"/>
                  <a:pt x="111101" y="245637"/>
                </a:cubicBezTo>
                <a:cubicBezTo>
                  <a:pt x="119370" y="238783"/>
                  <a:pt x="123685" y="228684"/>
                  <a:pt x="123685" y="217863"/>
                </a:cubicBezTo>
                <a:lnTo>
                  <a:pt x="123685" y="195860"/>
                </a:lnTo>
                <a:lnTo>
                  <a:pt x="80899" y="195860"/>
                </a:lnTo>
                <a:lnTo>
                  <a:pt x="80899" y="259344"/>
                </a:lnTo>
                <a:cubicBezTo>
                  <a:pt x="80899" y="266558"/>
                  <a:pt x="75146" y="272690"/>
                  <a:pt x="67955" y="272690"/>
                </a:cubicBezTo>
                <a:lnTo>
                  <a:pt x="12944" y="272690"/>
                </a:lnTo>
                <a:cubicBezTo>
                  <a:pt x="5753" y="272690"/>
                  <a:pt x="0" y="266558"/>
                  <a:pt x="0" y="259344"/>
                </a:cubicBezTo>
                <a:lnTo>
                  <a:pt x="0" y="138509"/>
                </a:lnTo>
                <a:cubicBezTo>
                  <a:pt x="0" y="130934"/>
                  <a:pt x="5753" y="125163"/>
                  <a:pt x="12944" y="125163"/>
                </a:cubicBezTo>
                <a:lnTo>
                  <a:pt x="21213" y="125163"/>
                </a:lnTo>
                <a:lnTo>
                  <a:pt x="21213" y="17313"/>
                </a:lnTo>
                <a:cubicBezTo>
                  <a:pt x="21213" y="7574"/>
                  <a:pt x="28764" y="0"/>
                  <a:pt x="38112"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3" name="Freeform 32">
            <a:extLst>
              <a:ext uri="{FF2B5EF4-FFF2-40B4-BE49-F238E27FC236}">
                <a16:creationId xmlns:a16="http://schemas.microsoft.com/office/drawing/2014/main" id="{5E17FEAE-B00E-2BA6-BAEF-B860C43EF719}"/>
              </a:ext>
            </a:extLst>
          </p:cNvPr>
          <p:cNvSpPr>
            <a:spLocks noChangeArrowheads="1"/>
          </p:cNvSpPr>
          <p:nvPr/>
        </p:nvSpPr>
        <p:spPr bwMode="auto">
          <a:xfrm>
            <a:off x="7712354" y="2418250"/>
            <a:ext cx="1278604" cy="1300898"/>
          </a:xfrm>
          <a:custGeom>
            <a:avLst/>
            <a:gdLst>
              <a:gd name="connsiteX0" fmla="*/ 260119 w 369526"/>
              <a:gd name="connsiteY0" fmla="*/ 330680 h 375969"/>
              <a:gd name="connsiteX1" fmla="*/ 260119 w 369526"/>
              <a:gd name="connsiteY1" fmla="*/ 342901 h 375969"/>
              <a:gd name="connsiteX2" fmla="*/ 249287 w 369526"/>
              <a:gd name="connsiteY2" fmla="*/ 366264 h 375969"/>
              <a:gd name="connsiteX3" fmla="*/ 255064 w 369526"/>
              <a:gd name="connsiteY3" fmla="*/ 366264 h 375969"/>
              <a:gd name="connsiteX4" fmla="*/ 305976 w 369526"/>
              <a:gd name="connsiteY4" fmla="*/ 366264 h 375969"/>
              <a:gd name="connsiteX5" fmla="*/ 295144 w 369526"/>
              <a:gd name="connsiteY5" fmla="*/ 342901 h 375969"/>
              <a:gd name="connsiteX6" fmla="*/ 295144 w 369526"/>
              <a:gd name="connsiteY6" fmla="*/ 330680 h 375969"/>
              <a:gd name="connsiteX7" fmla="*/ 280021 w 369526"/>
              <a:gd name="connsiteY7" fmla="*/ 308065 h 375969"/>
              <a:gd name="connsiteX8" fmla="*/ 283817 w 369526"/>
              <a:gd name="connsiteY8" fmla="*/ 311703 h 375969"/>
              <a:gd name="connsiteX9" fmla="*/ 280021 w 369526"/>
              <a:gd name="connsiteY9" fmla="*/ 315672 h 375969"/>
              <a:gd name="connsiteX10" fmla="*/ 276225 w 369526"/>
              <a:gd name="connsiteY10" fmla="*/ 311703 h 375969"/>
              <a:gd name="connsiteX11" fmla="*/ 280021 w 369526"/>
              <a:gd name="connsiteY11" fmla="*/ 308065 h 375969"/>
              <a:gd name="connsiteX12" fmla="*/ 144685 w 369526"/>
              <a:gd name="connsiteY12" fmla="*/ 306823 h 375969"/>
              <a:gd name="connsiteX13" fmla="*/ 169513 w 369526"/>
              <a:gd name="connsiteY13" fmla="*/ 312345 h 375969"/>
              <a:gd name="connsiteX14" fmla="*/ 173895 w 369526"/>
              <a:gd name="connsiteY14" fmla="*/ 317867 h 375969"/>
              <a:gd name="connsiteX15" fmla="*/ 169148 w 369526"/>
              <a:gd name="connsiteY15" fmla="*/ 322008 h 375969"/>
              <a:gd name="connsiteX16" fmla="*/ 168418 w 369526"/>
              <a:gd name="connsiteY16" fmla="*/ 321663 h 375969"/>
              <a:gd name="connsiteX17" fmla="*/ 141764 w 369526"/>
              <a:gd name="connsiteY17" fmla="*/ 316141 h 375969"/>
              <a:gd name="connsiteX18" fmla="*/ 138843 w 369526"/>
              <a:gd name="connsiteY18" fmla="*/ 309929 h 375969"/>
              <a:gd name="connsiteX19" fmla="*/ 144685 w 369526"/>
              <a:gd name="connsiteY19" fmla="*/ 306823 h 375969"/>
              <a:gd name="connsiteX20" fmla="*/ 195125 w 369526"/>
              <a:gd name="connsiteY20" fmla="*/ 305520 h 375969"/>
              <a:gd name="connsiteX21" fmla="*/ 195125 w 369526"/>
              <a:gd name="connsiteY21" fmla="*/ 318100 h 375969"/>
              <a:gd name="connsiteX22" fmla="*/ 198375 w 369526"/>
              <a:gd name="connsiteY22" fmla="*/ 320975 h 375969"/>
              <a:gd name="connsiteX23" fmla="*/ 250370 w 369526"/>
              <a:gd name="connsiteY23" fmla="*/ 320975 h 375969"/>
              <a:gd name="connsiteX24" fmla="*/ 304893 w 369526"/>
              <a:gd name="connsiteY24" fmla="*/ 320975 h 375969"/>
              <a:gd name="connsiteX25" fmla="*/ 356888 w 369526"/>
              <a:gd name="connsiteY25" fmla="*/ 320975 h 375969"/>
              <a:gd name="connsiteX26" fmla="*/ 359777 w 369526"/>
              <a:gd name="connsiteY26" fmla="*/ 318100 h 375969"/>
              <a:gd name="connsiteX27" fmla="*/ 359777 w 369526"/>
              <a:gd name="connsiteY27" fmla="*/ 305520 h 375969"/>
              <a:gd name="connsiteX28" fmla="*/ 89158 w 369526"/>
              <a:gd name="connsiteY28" fmla="*/ 275338 h 375969"/>
              <a:gd name="connsiteX29" fmla="*/ 96173 w 369526"/>
              <a:gd name="connsiteY29" fmla="*/ 275338 h 375969"/>
              <a:gd name="connsiteX30" fmla="*/ 115740 w 369526"/>
              <a:gd name="connsiteY30" fmla="*/ 292190 h 375969"/>
              <a:gd name="connsiteX31" fmla="*/ 117216 w 369526"/>
              <a:gd name="connsiteY31" fmla="*/ 299151 h 375969"/>
              <a:gd name="connsiteX32" fmla="*/ 112786 w 369526"/>
              <a:gd name="connsiteY32" fmla="*/ 301349 h 375969"/>
              <a:gd name="connsiteX33" fmla="*/ 110202 w 369526"/>
              <a:gd name="connsiteY33" fmla="*/ 300250 h 375969"/>
              <a:gd name="connsiteX34" fmla="*/ 89158 w 369526"/>
              <a:gd name="connsiteY34" fmla="*/ 282299 h 375969"/>
              <a:gd name="connsiteX35" fmla="*/ 89158 w 369526"/>
              <a:gd name="connsiteY35" fmla="*/ 275338 h 375969"/>
              <a:gd name="connsiteX36" fmla="*/ 59476 w 369526"/>
              <a:gd name="connsiteY36" fmla="*/ 219878 h 375969"/>
              <a:gd name="connsiteX37" fmla="*/ 65170 w 369526"/>
              <a:gd name="connsiteY37" fmla="*/ 223442 h 375969"/>
              <a:gd name="connsiteX38" fmla="*/ 74421 w 369526"/>
              <a:gd name="connsiteY38" fmla="*/ 246963 h 375969"/>
              <a:gd name="connsiteX39" fmla="*/ 72286 w 369526"/>
              <a:gd name="connsiteY39" fmla="*/ 253377 h 375969"/>
              <a:gd name="connsiteX40" fmla="*/ 70151 w 369526"/>
              <a:gd name="connsiteY40" fmla="*/ 253734 h 375969"/>
              <a:gd name="connsiteX41" fmla="*/ 66237 w 369526"/>
              <a:gd name="connsiteY41" fmla="*/ 251239 h 375969"/>
              <a:gd name="connsiteX42" fmla="*/ 56274 w 369526"/>
              <a:gd name="connsiteY42" fmla="*/ 225936 h 375969"/>
              <a:gd name="connsiteX43" fmla="*/ 59476 w 369526"/>
              <a:gd name="connsiteY43" fmla="*/ 219878 h 375969"/>
              <a:gd name="connsiteX44" fmla="*/ 198375 w 369526"/>
              <a:gd name="connsiteY44" fmla="*/ 214582 h 375969"/>
              <a:gd name="connsiteX45" fmla="*/ 195125 w 369526"/>
              <a:gd name="connsiteY45" fmla="*/ 217458 h 375969"/>
              <a:gd name="connsiteX46" fmla="*/ 195125 w 369526"/>
              <a:gd name="connsiteY46" fmla="*/ 295456 h 375969"/>
              <a:gd name="connsiteX47" fmla="*/ 359777 w 369526"/>
              <a:gd name="connsiteY47" fmla="*/ 295456 h 375969"/>
              <a:gd name="connsiteX48" fmla="*/ 359777 w 369526"/>
              <a:gd name="connsiteY48" fmla="*/ 217458 h 375969"/>
              <a:gd name="connsiteX49" fmla="*/ 356888 w 369526"/>
              <a:gd name="connsiteY49" fmla="*/ 214582 h 375969"/>
              <a:gd name="connsiteX50" fmla="*/ 198375 w 369526"/>
              <a:gd name="connsiteY50" fmla="*/ 204878 h 375969"/>
              <a:gd name="connsiteX51" fmla="*/ 356888 w 369526"/>
              <a:gd name="connsiteY51" fmla="*/ 204878 h 375969"/>
              <a:gd name="connsiteX52" fmla="*/ 369526 w 369526"/>
              <a:gd name="connsiteY52" fmla="*/ 217458 h 375969"/>
              <a:gd name="connsiteX53" fmla="*/ 369526 w 369526"/>
              <a:gd name="connsiteY53" fmla="*/ 318100 h 375969"/>
              <a:gd name="connsiteX54" fmla="*/ 356888 w 369526"/>
              <a:gd name="connsiteY54" fmla="*/ 330680 h 375969"/>
              <a:gd name="connsiteX55" fmla="*/ 304893 w 369526"/>
              <a:gd name="connsiteY55" fmla="*/ 330680 h 375969"/>
              <a:gd name="connsiteX56" fmla="*/ 304893 w 369526"/>
              <a:gd name="connsiteY56" fmla="*/ 342901 h 375969"/>
              <a:gd name="connsiteX57" fmla="*/ 312115 w 369526"/>
              <a:gd name="connsiteY57" fmla="*/ 358357 h 375969"/>
              <a:gd name="connsiteX58" fmla="*/ 315003 w 369526"/>
              <a:gd name="connsiteY58" fmla="*/ 369499 h 375969"/>
              <a:gd name="connsiteX59" fmla="*/ 305976 w 369526"/>
              <a:gd name="connsiteY59" fmla="*/ 375969 h 375969"/>
              <a:gd name="connsiteX60" fmla="*/ 249287 w 369526"/>
              <a:gd name="connsiteY60" fmla="*/ 375969 h 375969"/>
              <a:gd name="connsiteX61" fmla="*/ 239899 w 369526"/>
              <a:gd name="connsiteY61" fmla="*/ 369499 h 375969"/>
              <a:gd name="connsiteX62" fmla="*/ 242788 w 369526"/>
              <a:gd name="connsiteY62" fmla="*/ 358357 h 375969"/>
              <a:gd name="connsiteX63" fmla="*/ 250370 w 369526"/>
              <a:gd name="connsiteY63" fmla="*/ 342901 h 375969"/>
              <a:gd name="connsiteX64" fmla="*/ 250370 w 369526"/>
              <a:gd name="connsiteY64" fmla="*/ 330680 h 375969"/>
              <a:gd name="connsiteX65" fmla="*/ 198375 w 369526"/>
              <a:gd name="connsiteY65" fmla="*/ 330680 h 375969"/>
              <a:gd name="connsiteX66" fmla="*/ 185737 w 369526"/>
              <a:gd name="connsiteY66" fmla="*/ 318100 h 375969"/>
              <a:gd name="connsiteX67" fmla="*/ 185737 w 369526"/>
              <a:gd name="connsiteY67" fmla="*/ 217458 h 375969"/>
              <a:gd name="connsiteX68" fmla="*/ 198375 w 369526"/>
              <a:gd name="connsiteY68" fmla="*/ 204878 h 375969"/>
              <a:gd name="connsiteX69" fmla="*/ 60733 w 369526"/>
              <a:gd name="connsiteY69" fmla="*/ 156397 h 375969"/>
              <a:gd name="connsiteX70" fmla="*/ 64362 w 369526"/>
              <a:gd name="connsiteY70" fmla="*/ 162259 h 375969"/>
              <a:gd name="connsiteX71" fmla="*/ 61822 w 369526"/>
              <a:gd name="connsiteY71" fmla="*/ 188270 h 375969"/>
              <a:gd name="connsiteX72" fmla="*/ 56742 w 369526"/>
              <a:gd name="connsiteY72" fmla="*/ 193398 h 375969"/>
              <a:gd name="connsiteX73" fmla="*/ 52387 w 369526"/>
              <a:gd name="connsiteY73" fmla="*/ 188270 h 375969"/>
              <a:gd name="connsiteX74" fmla="*/ 54927 w 369526"/>
              <a:gd name="connsiteY74" fmla="*/ 160061 h 375969"/>
              <a:gd name="connsiteX75" fmla="*/ 60733 w 369526"/>
              <a:gd name="connsiteY75" fmla="*/ 156397 h 375969"/>
              <a:gd name="connsiteX76" fmla="*/ 309086 w 369526"/>
              <a:gd name="connsiteY76" fmla="*/ 151628 h 375969"/>
              <a:gd name="connsiteX77" fmla="*/ 314801 w 369526"/>
              <a:gd name="connsiteY77" fmla="*/ 155257 h 375969"/>
              <a:gd name="connsiteX78" fmla="*/ 318373 w 369526"/>
              <a:gd name="connsiteY78" fmla="*/ 182834 h 375969"/>
              <a:gd name="connsiteX79" fmla="*/ 318730 w 369526"/>
              <a:gd name="connsiteY79" fmla="*/ 183197 h 375969"/>
              <a:gd name="connsiteX80" fmla="*/ 313730 w 369526"/>
              <a:gd name="connsiteY80" fmla="*/ 188640 h 375969"/>
              <a:gd name="connsiteX81" fmla="*/ 309086 w 369526"/>
              <a:gd name="connsiteY81" fmla="*/ 183560 h 375969"/>
              <a:gd name="connsiteX82" fmla="*/ 309086 w 369526"/>
              <a:gd name="connsiteY82" fmla="*/ 183197 h 375969"/>
              <a:gd name="connsiteX83" fmla="*/ 305515 w 369526"/>
              <a:gd name="connsiteY83" fmla="*/ 157797 h 375969"/>
              <a:gd name="connsiteX84" fmla="*/ 309086 w 369526"/>
              <a:gd name="connsiteY84" fmla="*/ 151628 h 375969"/>
              <a:gd name="connsiteX85" fmla="*/ 278413 w 369526"/>
              <a:gd name="connsiteY85" fmla="*/ 97104 h 375969"/>
              <a:gd name="connsiteX86" fmla="*/ 285342 w 369526"/>
              <a:gd name="connsiteY86" fmla="*/ 97456 h 375969"/>
              <a:gd name="connsiteX87" fmla="*/ 301389 w 369526"/>
              <a:gd name="connsiteY87" fmla="*/ 119681 h 375969"/>
              <a:gd name="connsiteX88" fmla="*/ 299565 w 369526"/>
              <a:gd name="connsiteY88" fmla="*/ 126031 h 375969"/>
              <a:gd name="connsiteX89" fmla="*/ 297013 w 369526"/>
              <a:gd name="connsiteY89" fmla="*/ 126737 h 375969"/>
              <a:gd name="connsiteX90" fmla="*/ 293001 w 369526"/>
              <a:gd name="connsiteY90" fmla="*/ 124268 h 375969"/>
              <a:gd name="connsiteX91" fmla="*/ 278049 w 369526"/>
              <a:gd name="connsiteY91" fmla="*/ 104159 h 375969"/>
              <a:gd name="connsiteX92" fmla="*/ 278413 w 369526"/>
              <a:gd name="connsiteY92" fmla="*/ 97104 h 375969"/>
              <a:gd name="connsiteX93" fmla="*/ 232626 w 369526"/>
              <a:gd name="connsiteY93" fmla="*/ 61531 h 375969"/>
              <a:gd name="connsiteX94" fmla="*/ 257110 w 369526"/>
              <a:gd name="connsiteY94" fmla="*/ 74182 h 375969"/>
              <a:gd name="connsiteX95" fmla="*/ 258550 w 369526"/>
              <a:gd name="connsiteY95" fmla="*/ 81251 h 375969"/>
              <a:gd name="connsiteX96" fmla="*/ 254589 w 369526"/>
              <a:gd name="connsiteY96" fmla="*/ 83856 h 375969"/>
              <a:gd name="connsiteX97" fmla="*/ 251709 w 369526"/>
              <a:gd name="connsiteY97" fmla="*/ 82739 h 375969"/>
              <a:gd name="connsiteX98" fmla="*/ 229386 w 369526"/>
              <a:gd name="connsiteY98" fmla="*/ 70833 h 375969"/>
              <a:gd name="connsiteX99" fmla="*/ 226505 w 369526"/>
              <a:gd name="connsiteY99" fmla="*/ 64508 h 375969"/>
              <a:gd name="connsiteX100" fmla="*/ 232626 w 369526"/>
              <a:gd name="connsiteY100" fmla="*/ 61531 h 375969"/>
              <a:gd name="connsiteX101" fmla="*/ 126767 w 369526"/>
              <a:gd name="connsiteY101" fmla="*/ 10079 h 375969"/>
              <a:gd name="connsiteX102" fmla="*/ 97319 w 369526"/>
              <a:gd name="connsiteY102" fmla="*/ 22379 h 375969"/>
              <a:gd name="connsiteX103" fmla="*/ 85469 w 369526"/>
              <a:gd name="connsiteY103" fmla="*/ 24188 h 375969"/>
              <a:gd name="connsiteX104" fmla="*/ 67513 w 369526"/>
              <a:gd name="connsiteY104" fmla="*/ 19123 h 375969"/>
              <a:gd name="connsiteX105" fmla="*/ 34474 w 369526"/>
              <a:gd name="connsiteY105" fmla="*/ 53129 h 375969"/>
              <a:gd name="connsiteX106" fmla="*/ 34474 w 369526"/>
              <a:gd name="connsiteY106" fmla="*/ 53490 h 375969"/>
              <a:gd name="connsiteX107" fmla="*/ 63922 w 369526"/>
              <a:gd name="connsiteY107" fmla="*/ 63258 h 375969"/>
              <a:gd name="connsiteX108" fmla="*/ 63922 w 369526"/>
              <a:gd name="connsiteY108" fmla="*/ 70132 h 375969"/>
              <a:gd name="connsiteX109" fmla="*/ 57099 w 369526"/>
              <a:gd name="connsiteY109" fmla="*/ 69770 h 375969"/>
              <a:gd name="connsiteX110" fmla="*/ 30165 w 369526"/>
              <a:gd name="connsiteY110" fmla="*/ 63620 h 375969"/>
              <a:gd name="connsiteX111" fmla="*/ 21906 w 369526"/>
              <a:gd name="connsiteY111" fmla="*/ 66152 h 375969"/>
              <a:gd name="connsiteX112" fmla="*/ 11491 w 369526"/>
              <a:gd name="connsiteY112" fmla="*/ 78090 h 375969"/>
              <a:gd name="connsiteX113" fmla="*/ 9696 w 369526"/>
              <a:gd name="connsiteY113" fmla="*/ 88581 h 375969"/>
              <a:gd name="connsiteX114" fmla="*/ 33756 w 369526"/>
              <a:gd name="connsiteY114" fmla="*/ 112096 h 375969"/>
              <a:gd name="connsiteX115" fmla="*/ 155495 w 369526"/>
              <a:gd name="connsiteY115" fmla="*/ 112096 h 375969"/>
              <a:gd name="connsiteX116" fmla="*/ 179197 w 369526"/>
              <a:gd name="connsiteY116" fmla="*/ 87496 h 375969"/>
              <a:gd name="connsiteX117" fmla="*/ 161241 w 369526"/>
              <a:gd name="connsiteY117" fmla="*/ 63620 h 375969"/>
              <a:gd name="connsiteX118" fmla="*/ 146159 w 369526"/>
              <a:gd name="connsiteY118" fmla="*/ 82793 h 375969"/>
              <a:gd name="connsiteX119" fmla="*/ 142927 w 369526"/>
              <a:gd name="connsiteY119" fmla="*/ 84240 h 375969"/>
              <a:gd name="connsiteX120" fmla="*/ 139335 w 369526"/>
              <a:gd name="connsiteY120" fmla="*/ 82793 h 375969"/>
              <a:gd name="connsiteX121" fmla="*/ 139335 w 369526"/>
              <a:gd name="connsiteY121" fmla="*/ 75558 h 375969"/>
              <a:gd name="connsiteX122" fmla="*/ 154777 w 369526"/>
              <a:gd name="connsiteY122" fmla="*/ 53490 h 375969"/>
              <a:gd name="connsiteX123" fmla="*/ 155136 w 369526"/>
              <a:gd name="connsiteY123" fmla="*/ 52405 h 375969"/>
              <a:gd name="connsiteX124" fmla="*/ 155136 w 369526"/>
              <a:gd name="connsiteY124" fmla="*/ 36126 h 375969"/>
              <a:gd name="connsiteX125" fmla="*/ 126767 w 369526"/>
              <a:gd name="connsiteY125" fmla="*/ 10079 h 375969"/>
              <a:gd name="connsiteX126" fmla="*/ 128203 w 369526"/>
              <a:gd name="connsiteY126" fmla="*/ 312 h 375969"/>
              <a:gd name="connsiteX127" fmla="*/ 164832 w 369526"/>
              <a:gd name="connsiteY127" fmla="*/ 33955 h 375969"/>
              <a:gd name="connsiteX128" fmla="*/ 164473 w 369526"/>
              <a:gd name="connsiteY128" fmla="*/ 54214 h 375969"/>
              <a:gd name="connsiteX129" fmla="*/ 165910 w 369526"/>
              <a:gd name="connsiteY129" fmla="*/ 54576 h 375969"/>
              <a:gd name="connsiteX130" fmla="*/ 168423 w 369526"/>
              <a:gd name="connsiteY130" fmla="*/ 53490 h 375969"/>
              <a:gd name="connsiteX131" fmla="*/ 179197 w 369526"/>
              <a:gd name="connsiteY131" fmla="*/ 52767 h 375969"/>
              <a:gd name="connsiteX132" fmla="*/ 195357 w 369526"/>
              <a:gd name="connsiteY132" fmla="*/ 53129 h 375969"/>
              <a:gd name="connsiteX133" fmla="*/ 199666 w 369526"/>
              <a:gd name="connsiteY133" fmla="*/ 58555 h 375969"/>
              <a:gd name="connsiteX134" fmla="*/ 194639 w 369526"/>
              <a:gd name="connsiteY134" fmla="*/ 62896 h 375969"/>
              <a:gd name="connsiteX135" fmla="*/ 179197 w 369526"/>
              <a:gd name="connsiteY135" fmla="*/ 62535 h 375969"/>
              <a:gd name="connsiteX136" fmla="*/ 178838 w 369526"/>
              <a:gd name="connsiteY136" fmla="*/ 62535 h 375969"/>
              <a:gd name="connsiteX137" fmla="*/ 189252 w 369526"/>
              <a:gd name="connsiteY137" fmla="*/ 87496 h 375969"/>
              <a:gd name="connsiteX138" fmla="*/ 155495 w 369526"/>
              <a:gd name="connsiteY138" fmla="*/ 121863 h 375969"/>
              <a:gd name="connsiteX139" fmla="*/ 80082 w 369526"/>
              <a:gd name="connsiteY139" fmla="*/ 121863 h 375969"/>
              <a:gd name="connsiteX140" fmla="*/ 75414 w 369526"/>
              <a:gd name="connsiteY140" fmla="*/ 130184 h 375969"/>
              <a:gd name="connsiteX141" fmla="*/ 70745 w 369526"/>
              <a:gd name="connsiteY141" fmla="*/ 133078 h 375969"/>
              <a:gd name="connsiteX142" fmla="*/ 68591 w 369526"/>
              <a:gd name="connsiteY142" fmla="*/ 132354 h 375969"/>
              <a:gd name="connsiteX143" fmla="*/ 66795 w 369526"/>
              <a:gd name="connsiteY143" fmla="*/ 125481 h 375969"/>
              <a:gd name="connsiteX144" fmla="*/ 68591 w 369526"/>
              <a:gd name="connsiteY144" fmla="*/ 121863 h 375969"/>
              <a:gd name="connsiteX145" fmla="*/ 33756 w 369526"/>
              <a:gd name="connsiteY145" fmla="*/ 121863 h 375969"/>
              <a:gd name="connsiteX146" fmla="*/ 0 w 369526"/>
              <a:gd name="connsiteY146" fmla="*/ 90390 h 375969"/>
              <a:gd name="connsiteX147" fmla="*/ 0 w 369526"/>
              <a:gd name="connsiteY147" fmla="*/ 90028 h 375969"/>
              <a:gd name="connsiteX148" fmla="*/ 0 w 369526"/>
              <a:gd name="connsiteY148" fmla="*/ 88581 h 375969"/>
              <a:gd name="connsiteX149" fmla="*/ 0 w 369526"/>
              <a:gd name="connsiteY149" fmla="*/ 87496 h 375969"/>
              <a:gd name="connsiteX150" fmla="*/ 3591 w 369526"/>
              <a:gd name="connsiteY150" fmla="*/ 72664 h 375969"/>
              <a:gd name="connsiteX151" fmla="*/ 17596 w 369526"/>
              <a:gd name="connsiteY151" fmla="*/ 57108 h 375969"/>
              <a:gd name="connsiteX152" fmla="*/ 24419 w 369526"/>
              <a:gd name="connsiteY152" fmla="*/ 54214 h 375969"/>
              <a:gd name="connsiteX153" fmla="*/ 25138 w 369526"/>
              <a:gd name="connsiteY153" fmla="*/ 53852 h 375969"/>
              <a:gd name="connsiteX154" fmla="*/ 24778 w 369526"/>
              <a:gd name="connsiteY154" fmla="*/ 53129 h 375969"/>
              <a:gd name="connsiteX155" fmla="*/ 67513 w 369526"/>
              <a:gd name="connsiteY155" fmla="*/ 8994 h 375969"/>
              <a:gd name="connsiteX156" fmla="*/ 90137 w 369526"/>
              <a:gd name="connsiteY156" fmla="*/ 15867 h 375969"/>
              <a:gd name="connsiteX157" fmla="*/ 128203 w 369526"/>
              <a:gd name="connsiteY157" fmla="*/ 312 h 3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69526" h="375969">
                <a:moveTo>
                  <a:pt x="260119" y="330680"/>
                </a:moveTo>
                <a:lnTo>
                  <a:pt x="260119" y="342901"/>
                </a:lnTo>
                <a:cubicBezTo>
                  <a:pt x="260119" y="351887"/>
                  <a:pt x="256148" y="360513"/>
                  <a:pt x="249287" y="366264"/>
                </a:cubicBezTo>
                <a:lnTo>
                  <a:pt x="255064" y="366264"/>
                </a:lnTo>
                <a:lnTo>
                  <a:pt x="305976" y="366264"/>
                </a:lnTo>
                <a:cubicBezTo>
                  <a:pt x="299116" y="360513"/>
                  <a:pt x="295144" y="351887"/>
                  <a:pt x="295144" y="342901"/>
                </a:cubicBezTo>
                <a:lnTo>
                  <a:pt x="295144" y="330680"/>
                </a:lnTo>
                <a:close/>
                <a:moveTo>
                  <a:pt x="280021" y="308065"/>
                </a:moveTo>
                <a:cubicBezTo>
                  <a:pt x="282092" y="308065"/>
                  <a:pt x="283817" y="309719"/>
                  <a:pt x="283817" y="311703"/>
                </a:cubicBezTo>
                <a:cubicBezTo>
                  <a:pt x="283817" y="313688"/>
                  <a:pt x="282092" y="315672"/>
                  <a:pt x="280021" y="315672"/>
                </a:cubicBezTo>
                <a:cubicBezTo>
                  <a:pt x="277951" y="315672"/>
                  <a:pt x="276225" y="313688"/>
                  <a:pt x="276225" y="311703"/>
                </a:cubicBezTo>
                <a:cubicBezTo>
                  <a:pt x="276225" y="309719"/>
                  <a:pt x="277951" y="308065"/>
                  <a:pt x="280021" y="308065"/>
                </a:cubicBezTo>
                <a:close/>
                <a:moveTo>
                  <a:pt x="144685" y="306823"/>
                </a:moveTo>
                <a:cubicBezTo>
                  <a:pt x="152717" y="309929"/>
                  <a:pt x="161481" y="311655"/>
                  <a:pt x="169513" y="312345"/>
                </a:cubicBezTo>
                <a:cubicBezTo>
                  <a:pt x="172434" y="312690"/>
                  <a:pt x="174260" y="315106"/>
                  <a:pt x="173895" y="317867"/>
                </a:cubicBezTo>
                <a:cubicBezTo>
                  <a:pt x="173530" y="319937"/>
                  <a:pt x="171704" y="322008"/>
                  <a:pt x="169148" y="322008"/>
                </a:cubicBezTo>
                <a:cubicBezTo>
                  <a:pt x="169148" y="322008"/>
                  <a:pt x="168783" y="322008"/>
                  <a:pt x="168418" y="321663"/>
                </a:cubicBezTo>
                <a:cubicBezTo>
                  <a:pt x="159290" y="320628"/>
                  <a:pt x="150527" y="318902"/>
                  <a:pt x="141764" y="316141"/>
                </a:cubicBezTo>
                <a:cubicBezTo>
                  <a:pt x="139208" y="315106"/>
                  <a:pt x="138112" y="312345"/>
                  <a:pt x="138843" y="309929"/>
                </a:cubicBezTo>
                <a:cubicBezTo>
                  <a:pt x="139573" y="307514"/>
                  <a:pt x="142494" y="306478"/>
                  <a:pt x="144685" y="306823"/>
                </a:cubicBezTo>
                <a:close/>
                <a:moveTo>
                  <a:pt x="195125" y="305520"/>
                </a:moveTo>
                <a:lnTo>
                  <a:pt x="195125" y="318100"/>
                </a:lnTo>
                <a:cubicBezTo>
                  <a:pt x="195125" y="319538"/>
                  <a:pt x="196570" y="320975"/>
                  <a:pt x="198375" y="320975"/>
                </a:cubicBezTo>
                <a:lnTo>
                  <a:pt x="250370" y="320975"/>
                </a:lnTo>
                <a:lnTo>
                  <a:pt x="304893" y="320975"/>
                </a:lnTo>
                <a:lnTo>
                  <a:pt x="356888" y="320975"/>
                </a:lnTo>
                <a:cubicBezTo>
                  <a:pt x="358333" y="320975"/>
                  <a:pt x="359777" y="319538"/>
                  <a:pt x="359777" y="318100"/>
                </a:cubicBezTo>
                <a:lnTo>
                  <a:pt x="359777" y="305520"/>
                </a:lnTo>
                <a:close/>
                <a:moveTo>
                  <a:pt x="89158" y="275338"/>
                </a:moveTo>
                <a:cubicBezTo>
                  <a:pt x="91373" y="273140"/>
                  <a:pt x="94327" y="273140"/>
                  <a:pt x="96173" y="275338"/>
                </a:cubicBezTo>
                <a:cubicBezTo>
                  <a:pt x="102080" y="281566"/>
                  <a:pt x="108725" y="287428"/>
                  <a:pt x="115740" y="292190"/>
                </a:cubicBezTo>
                <a:cubicBezTo>
                  <a:pt x="117955" y="293656"/>
                  <a:pt x="118693" y="296953"/>
                  <a:pt x="117216" y="299151"/>
                </a:cubicBezTo>
                <a:cubicBezTo>
                  <a:pt x="116109" y="300616"/>
                  <a:pt x="114632" y="301349"/>
                  <a:pt x="112786" y="301349"/>
                </a:cubicBezTo>
                <a:cubicBezTo>
                  <a:pt x="112048" y="301349"/>
                  <a:pt x="110940" y="300983"/>
                  <a:pt x="110202" y="300250"/>
                </a:cubicBezTo>
                <a:cubicBezTo>
                  <a:pt x="102449" y="295121"/>
                  <a:pt x="95434" y="288893"/>
                  <a:pt x="89158" y="282299"/>
                </a:cubicBezTo>
                <a:cubicBezTo>
                  <a:pt x="87312" y="280101"/>
                  <a:pt x="87312" y="277170"/>
                  <a:pt x="89158" y="275338"/>
                </a:cubicBezTo>
                <a:close/>
                <a:moveTo>
                  <a:pt x="59476" y="219878"/>
                </a:moveTo>
                <a:cubicBezTo>
                  <a:pt x="61967" y="219165"/>
                  <a:pt x="64814" y="220591"/>
                  <a:pt x="65170" y="223442"/>
                </a:cubicBezTo>
                <a:cubicBezTo>
                  <a:pt x="67305" y="231282"/>
                  <a:pt x="70863" y="239122"/>
                  <a:pt x="74421" y="246963"/>
                </a:cubicBezTo>
                <a:cubicBezTo>
                  <a:pt x="75844" y="249101"/>
                  <a:pt x="74777" y="251952"/>
                  <a:pt x="72286" y="253377"/>
                </a:cubicBezTo>
                <a:cubicBezTo>
                  <a:pt x="71930" y="253734"/>
                  <a:pt x="70863" y="253734"/>
                  <a:pt x="70151" y="253734"/>
                </a:cubicBezTo>
                <a:cubicBezTo>
                  <a:pt x="68728" y="253734"/>
                  <a:pt x="66949" y="253021"/>
                  <a:pt x="66237" y="251239"/>
                </a:cubicBezTo>
                <a:cubicBezTo>
                  <a:pt x="61967" y="243043"/>
                  <a:pt x="58409" y="234489"/>
                  <a:pt x="56274" y="225936"/>
                </a:cubicBezTo>
                <a:cubicBezTo>
                  <a:pt x="55562" y="223442"/>
                  <a:pt x="56986" y="220591"/>
                  <a:pt x="59476" y="219878"/>
                </a:cubicBezTo>
                <a:close/>
                <a:moveTo>
                  <a:pt x="198375" y="214582"/>
                </a:moveTo>
                <a:cubicBezTo>
                  <a:pt x="196570" y="214582"/>
                  <a:pt x="195125" y="215661"/>
                  <a:pt x="195125" y="217458"/>
                </a:cubicBezTo>
                <a:lnTo>
                  <a:pt x="195125" y="295456"/>
                </a:lnTo>
                <a:lnTo>
                  <a:pt x="359777" y="295456"/>
                </a:lnTo>
                <a:lnTo>
                  <a:pt x="359777" y="217458"/>
                </a:lnTo>
                <a:cubicBezTo>
                  <a:pt x="359777" y="215661"/>
                  <a:pt x="358333" y="214582"/>
                  <a:pt x="356888" y="214582"/>
                </a:cubicBezTo>
                <a:close/>
                <a:moveTo>
                  <a:pt x="198375" y="204878"/>
                </a:moveTo>
                <a:lnTo>
                  <a:pt x="356888" y="204878"/>
                </a:lnTo>
                <a:cubicBezTo>
                  <a:pt x="363749" y="204878"/>
                  <a:pt x="369526" y="210629"/>
                  <a:pt x="369526" y="217458"/>
                </a:cubicBezTo>
                <a:lnTo>
                  <a:pt x="369526" y="318100"/>
                </a:lnTo>
                <a:cubicBezTo>
                  <a:pt x="369526" y="324929"/>
                  <a:pt x="363749" y="330680"/>
                  <a:pt x="356888" y="330680"/>
                </a:cubicBezTo>
                <a:lnTo>
                  <a:pt x="304893" y="330680"/>
                </a:lnTo>
                <a:lnTo>
                  <a:pt x="304893" y="342901"/>
                </a:lnTo>
                <a:cubicBezTo>
                  <a:pt x="304893" y="348652"/>
                  <a:pt x="307421" y="354762"/>
                  <a:pt x="312115" y="358357"/>
                </a:cubicBezTo>
                <a:cubicBezTo>
                  <a:pt x="315364" y="360873"/>
                  <a:pt x="316448" y="365545"/>
                  <a:pt x="315003" y="369499"/>
                </a:cubicBezTo>
                <a:cubicBezTo>
                  <a:pt x="313920" y="373453"/>
                  <a:pt x="309948" y="375969"/>
                  <a:pt x="305976" y="375969"/>
                </a:cubicBezTo>
                <a:lnTo>
                  <a:pt x="249287" y="375969"/>
                </a:lnTo>
                <a:cubicBezTo>
                  <a:pt x="244954" y="375969"/>
                  <a:pt x="241343" y="373453"/>
                  <a:pt x="239899" y="369499"/>
                </a:cubicBezTo>
                <a:cubicBezTo>
                  <a:pt x="238455" y="365545"/>
                  <a:pt x="239538" y="360873"/>
                  <a:pt x="242788" y="358357"/>
                </a:cubicBezTo>
                <a:cubicBezTo>
                  <a:pt x="247482" y="354762"/>
                  <a:pt x="250370" y="348652"/>
                  <a:pt x="250370" y="342901"/>
                </a:cubicBezTo>
                <a:lnTo>
                  <a:pt x="250370" y="330680"/>
                </a:lnTo>
                <a:lnTo>
                  <a:pt x="198375" y="330680"/>
                </a:lnTo>
                <a:cubicBezTo>
                  <a:pt x="191153" y="330680"/>
                  <a:pt x="185737" y="324929"/>
                  <a:pt x="185737" y="318100"/>
                </a:cubicBezTo>
                <a:lnTo>
                  <a:pt x="185737" y="217458"/>
                </a:lnTo>
                <a:cubicBezTo>
                  <a:pt x="185737" y="210629"/>
                  <a:pt x="191153" y="204878"/>
                  <a:pt x="198375" y="204878"/>
                </a:cubicBezTo>
                <a:close/>
                <a:moveTo>
                  <a:pt x="60733" y="156397"/>
                </a:moveTo>
                <a:cubicBezTo>
                  <a:pt x="63273" y="157130"/>
                  <a:pt x="64724" y="159695"/>
                  <a:pt x="64362" y="162259"/>
                </a:cubicBezTo>
                <a:cubicBezTo>
                  <a:pt x="62547" y="170685"/>
                  <a:pt x="61822" y="179477"/>
                  <a:pt x="61822" y="188270"/>
                </a:cubicBezTo>
                <a:cubicBezTo>
                  <a:pt x="61822" y="190834"/>
                  <a:pt x="59644" y="193398"/>
                  <a:pt x="56742" y="193398"/>
                </a:cubicBezTo>
                <a:cubicBezTo>
                  <a:pt x="54201" y="193398"/>
                  <a:pt x="52387" y="190834"/>
                  <a:pt x="52387" y="188270"/>
                </a:cubicBezTo>
                <a:cubicBezTo>
                  <a:pt x="52387" y="178745"/>
                  <a:pt x="53112" y="169586"/>
                  <a:pt x="54927" y="160061"/>
                </a:cubicBezTo>
                <a:cubicBezTo>
                  <a:pt x="55290" y="157496"/>
                  <a:pt x="58193" y="155665"/>
                  <a:pt x="60733" y="156397"/>
                </a:cubicBezTo>
                <a:close/>
                <a:moveTo>
                  <a:pt x="309086" y="151628"/>
                </a:moveTo>
                <a:cubicBezTo>
                  <a:pt x="311229" y="150903"/>
                  <a:pt x="314087" y="152717"/>
                  <a:pt x="314801" y="155257"/>
                </a:cubicBezTo>
                <a:cubicBezTo>
                  <a:pt x="316944" y="164328"/>
                  <a:pt x="318016" y="173400"/>
                  <a:pt x="318373" y="182834"/>
                </a:cubicBezTo>
                <a:lnTo>
                  <a:pt x="318730" y="183197"/>
                </a:lnTo>
                <a:cubicBezTo>
                  <a:pt x="318730" y="186100"/>
                  <a:pt x="316587" y="188277"/>
                  <a:pt x="313730" y="188640"/>
                </a:cubicBezTo>
                <a:cubicBezTo>
                  <a:pt x="311229" y="188640"/>
                  <a:pt x="309086" y="186463"/>
                  <a:pt x="309086" y="183560"/>
                </a:cubicBezTo>
                <a:lnTo>
                  <a:pt x="309086" y="183197"/>
                </a:lnTo>
                <a:cubicBezTo>
                  <a:pt x="308372" y="174488"/>
                  <a:pt x="307300" y="165780"/>
                  <a:pt x="305515" y="157797"/>
                </a:cubicBezTo>
                <a:cubicBezTo>
                  <a:pt x="304800" y="154894"/>
                  <a:pt x="306229" y="152354"/>
                  <a:pt x="309086" y="151628"/>
                </a:cubicBezTo>
                <a:close/>
                <a:moveTo>
                  <a:pt x="278413" y="97104"/>
                </a:moveTo>
                <a:cubicBezTo>
                  <a:pt x="280237" y="95340"/>
                  <a:pt x="283519" y="95693"/>
                  <a:pt x="285342" y="97456"/>
                </a:cubicBezTo>
                <a:cubicBezTo>
                  <a:pt x="291542" y="104159"/>
                  <a:pt x="297013" y="111920"/>
                  <a:pt x="301389" y="119681"/>
                </a:cubicBezTo>
                <a:cubicBezTo>
                  <a:pt x="302848" y="121798"/>
                  <a:pt x="302118" y="124620"/>
                  <a:pt x="299565" y="126031"/>
                </a:cubicBezTo>
                <a:cubicBezTo>
                  <a:pt x="298836" y="126384"/>
                  <a:pt x="298107" y="126737"/>
                  <a:pt x="297013" y="126737"/>
                </a:cubicBezTo>
                <a:cubicBezTo>
                  <a:pt x="295554" y="126737"/>
                  <a:pt x="293730" y="125679"/>
                  <a:pt x="293001" y="124268"/>
                </a:cubicBezTo>
                <a:cubicBezTo>
                  <a:pt x="288625" y="116859"/>
                  <a:pt x="283884" y="110156"/>
                  <a:pt x="278049" y="104159"/>
                </a:cubicBezTo>
                <a:cubicBezTo>
                  <a:pt x="276225" y="102043"/>
                  <a:pt x="276225" y="98868"/>
                  <a:pt x="278413" y="97104"/>
                </a:cubicBezTo>
                <a:close/>
                <a:moveTo>
                  <a:pt x="232626" y="61531"/>
                </a:moveTo>
                <a:cubicBezTo>
                  <a:pt x="241268" y="64880"/>
                  <a:pt x="249189" y="68973"/>
                  <a:pt x="257110" y="74182"/>
                </a:cubicBezTo>
                <a:cubicBezTo>
                  <a:pt x="259270" y="75670"/>
                  <a:pt x="259990" y="79019"/>
                  <a:pt x="258550" y="81251"/>
                </a:cubicBezTo>
                <a:cubicBezTo>
                  <a:pt x="257470" y="82739"/>
                  <a:pt x="256030" y="83856"/>
                  <a:pt x="254589" y="83856"/>
                </a:cubicBezTo>
                <a:cubicBezTo>
                  <a:pt x="253509" y="83856"/>
                  <a:pt x="252789" y="83484"/>
                  <a:pt x="251709" y="82739"/>
                </a:cubicBezTo>
                <a:cubicBezTo>
                  <a:pt x="244508" y="78275"/>
                  <a:pt x="237307" y="74182"/>
                  <a:pt x="229386" y="70833"/>
                </a:cubicBezTo>
                <a:cubicBezTo>
                  <a:pt x="226865" y="70089"/>
                  <a:pt x="225425" y="67112"/>
                  <a:pt x="226505" y="64508"/>
                </a:cubicBezTo>
                <a:cubicBezTo>
                  <a:pt x="227586" y="61903"/>
                  <a:pt x="230466" y="60415"/>
                  <a:pt x="232626" y="61531"/>
                </a:cubicBezTo>
                <a:close/>
                <a:moveTo>
                  <a:pt x="126767" y="10079"/>
                </a:moveTo>
                <a:cubicBezTo>
                  <a:pt x="115634" y="8632"/>
                  <a:pt x="104502" y="13335"/>
                  <a:pt x="97319" y="22379"/>
                </a:cubicBezTo>
                <a:cubicBezTo>
                  <a:pt x="94447" y="25997"/>
                  <a:pt x="89060" y="27082"/>
                  <a:pt x="85469" y="24188"/>
                </a:cubicBezTo>
                <a:cubicBezTo>
                  <a:pt x="80082" y="20932"/>
                  <a:pt x="73977" y="19123"/>
                  <a:pt x="67513" y="19123"/>
                </a:cubicBezTo>
                <a:cubicBezTo>
                  <a:pt x="49198" y="19123"/>
                  <a:pt x="34474" y="34317"/>
                  <a:pt x="34474" y="53129"/>
                </a:cubicBezTo>
                <a:lnTo>
                  <a:pt x="34474" y="53490"/>
                </a:lnTo>
                <a:cubicBezTo>
                  <a:pt x="54226" y="52767"/>
                  <a:pt x="63563" y="62535"/>
                  <a:pt x="63922" y="63258"/>
                </a:cubicBezTo>
                <a:cubicBezTo>
                  <a:pt x="65718" y="65429"/>
                  <a:pt x="65718" y="68323"/>
                  <a:pt x="63922" y="70132"/>
                </a:cubicBezTo>
                <a:cubicBezTo>
                  <a:pt x="61767" y="71940"/>
                  <a:pt x="58895" y="71940"/>
                  <a:pt x="57099" y="69770"/>
                </a:cubicBezTo>
                <a:cubicBezTo>
                  <a:pt x="56740" y="69408"/>
                  <a:pt x="48839" y="61449"/>
                  <a:pt x="30165" y="63620"/>
                </a:cubicBezTo>
                <a:cubicBezTo>
                  <a:pt x="26933" y="63982"/>
                  <a:pt x="24060" y="65067"/>
                  <a:pt x="21906" y="66152"/>
                </a:cubicBezTo>
                <a:cubicBezTo>
                  <a:pt x="17237" y="68684"/>
                  <a:pt x="13646" y="73026"/>
                  <a:pt x="11491" y="78090"/>
                </a:cubicBezTo>
                <a:cubicBezTo>
                  <a:pt x="10055" y="82431"/>
                  <a:pt x="9696" y="86773"/>
                  <a:pt x="9696" y="88581"/>
                </a:cubicBezTo>
                <a:cubicBezTo>
                  <a:pt x="10414" y="101605"/>
                  <a:pt x="20828" y="112096"/>
                  <a:pt x="33756" y="112096"/>
                </a:cubicBezTo>
                <a:lnTo>
                  <a:pt x="155495" y="112096"/>
                </a:lnTo>
                <a:cubicBezTo>
                  <a:pt x="168783" y="112096"/>
                  <a:pt x="179197" y="101243"/>
                  <a:pt x="179197" y="87496"/>
                </a:cubicBezTo>
                <a:cubicBezTo>
                  <a:pt x="179197" y="75920"/>
                  <a:pt x="172015" y="66152"/>
                  <a:pt x="161241" y="63620"/>
                </a:cubicBezTo>
                <a:cubicBezTo>
                  <a:pt x="158368" y="67961"/>
                  <a:pt x="154059" y="74473"/>
                  <a:pt x="146159" y="82793"/>
                </a:cubicBezTo>
                <a:cubicBezTo>
                  <a:pt x="145440" y="83517"/>
                  <a:pt x="144004" y="84240"/>
                  <a:pt x="142927" y="84240"/>
                </a:cubicBezTo>
                <a:cubicBezTo>
                  <a:pt x="141490" y="84240"/>
                  <a:pt x="140413" y="83517"/>
                  <a:pt x="139335" y="82793"/>
                </a:cubicBezTo>
                <a:cubicBezTo>
                  <a:pt x="137540" y="80623"/>
                  <a:pt x="137540" y="77728"/>
                  <a:pt x="139335" y="75558"/>
                </a:cubicBezTo>
                <a:cubicBezTo>
                  <a:pt x="153341" y="61449"/>
                  <a:pt x="154777" y="53852"/>
                  <a:pt x="154777" y="53490"/>
                </a:cubicBezTo>
                <a:cubicBezTo>
                  <a:pt x="154777" y="53129"/>
                  <a:pt x="154777" y="52767"/>
                  <a:pt x="155136" y="52405"/>
                </a:cubicBezTo>
                <a:cubicBezTo>
                  <a:pt x="156214" y="46979"/>
                  <a:pt x="156214" y="41552"/>
                  <a:pt x="155136" y="36126"/>
                </a:cubicBezTo>
                <a:cubicBezTo>
                  <a:pt x="152263" y="22741"/>
                  <a:pt x="140413" y="11526"/>
                  <a:pt x="126767" y="10079"/>
                </a:cubicBezTo>
                <a:close/>
                <a:moveTo>
                  <a:pt x="128203" y="312"/>
                </a:moveTo>
                <a:cubicBezTo>
                  <a:pt x="146159" y="2482"/>
                  <a:pt x="160882" y="15867"/>
                  <a:pt x="164832" y="33955"/>
                </a:cubicBezTo>
                <a:cubicBezTo>
                  <a:pt x="165910" y="40829"/>
                  <a:pt x="165910" y="47702"/>
                  <a:pt x="164473" y="54214"/>
                </a:cubicBezTo>
                <a:cubicBezTo>
                  <a:pt x="164832" y="54576"/>
                  <a:pt x="165191" y="54576"/>
                  <a:pt x="165910" y="54576"/>
                </a:cubicBezTo>
                <a:cubicBezTo>
                  <a:pt x="166628" y="54214"/>
                  <a:pt x="167346" y="53852"/>
                  <a:pt x="168423" y="53490"/>
                </a:cubicBezTo>
                <a:cubicBezTo>
                  <a:pt x="172015" y="53129"/>
                  <a:pt x="175247" y="52767"/>
                  <a:pt x="179197" y="52767"/>
                </a:cubicBezTo>
                <a:cubicBezTo>
                  <a:pt x="184583" y="52405"/>
                  <a:pt x="189970" y="52767"/>
                  <a:pt x="195357" y="53129"/>
                </a:cubicBezTo>
                <a:cubicBezTo>
                  <a:pt x="197871" y="53129"/>
                  <a:pt x="199666" y="55661"/>
                  <a:pt x="199666" y="58555"/>
                </a:cubicBezTo>
                <a:cubicBezTo>
                  <a:pt x="199307" y="61087"/>
                  <a:pt x="197152" y="62896"/>
                  <a:pt x="194639" y="62896"/>
                </a:cubicBezTo>
                <a:cubicBezTo>
                  <a:pt x="189611" y="62535"/>
                  <a:pt x="184583" y="62535"/>
                  <a:pt x="179197" y="62535"/>
                </a:cubicBezTo>
                <a:lnTo>
                  <a:pt x="178838" y="62535"/>
                </a:lnTo>
                <a:cubicBezTo>
                  <a:pt x="185302" y="69046"/>
                  <a:pt x="189252" y="77728"/>
                  <a:pt x="189252" y="87496"/>
                </a:cubicBezTo>
                <a:cubicBezTo>
                  <a:pt x="189252" y="106308"/>
                  <a:pt x="173810" y="121863"/>
                  <a:pt x="155495" y="121863"/>
                </a:cubicBezTo>
                <a:lnTo>
                  <a:pt x="80082" y="121863"/>
                </a:lnTo>
                <a:cubicBezTo>
                  <a:pt x="78287" y="124757"/>
                  <a:pt x="76491" y="127290"/>
                  <a:pt x="75414" y="130184"/>
                </a:cubicBezTo>
                <a:cubicBezTo>
                  <a:pt x="74336" y="131993"/>
                  <a:pt x="72541" y="133078"/>
                  <a:pt x="70745" y="133078"/>
                </a:cubicBezTo>
                <a:cubicBezTo>
                  <a:pt x="70386" y="133078"/>
                  <a:pt x="69309" y="132716"/>
                  <a:pt x="68591" y="132354"/>
                </a:cubicBezTo>
                <a:cubicBezTo>
                  <a:pt x="66077" y="130907"/>
                  <a:pt x="65359" y="128013"/>
                  <a:pt x="66795" y="125481"/>
                </a:cubicBezTo>
                <a:cubicBezTo>
                  <a:pt x="67513" y="124396"/>
                  <a:pt x="67872" y="123310"/>
                  <a:pt x="68591" y="121863"/>
                </a:cubicBezTo>
                <a:lnTo>
                  <a:pt x="33756" y="121863"/>
                </a:lnTo>
                <a:cubicBezTo>
                  <a:pt x="16160" y="121863"/>
                  <a:pt x="1795" y="108116"/>
                  <a:pt x="0" y="90390"/>
                </a:cubicBezTo>
                <a:cubicBezTo>
                  <a:pt x="0" y="90028"/>
                  <a:pt x="0" y="90028"/>
                  <a:pt x="0" y="90028"/>
                </a:cubicBezTo>
                <a:cubicBezTo>
                  <a:pt x="0" y="89305"/>
                  <a:pt x="0" y="89305"/>
                  <a:pt x="0" y="88581"/>
                </a:cubicBezTo>
                <a:cubicBezTo>
                  <a:pt x="0" y="88220"/>
                  <a:pt x="0" y="87858"/>
                  <a:pt x="0" y="87496"/>
                </a:cubicBezTo>
                <a:cubicBezTo>
                  <a:pt x="0" y="82070"/>
                  <a:pt x="1436" y="77367"/>
                  <a:pt x="3591" y="72664"/>
                </a:cubicBezTo>
                <a:cubicBezTo>
                  <a:pt x="6105" y="66514"/>
                  <a:pt x="10414" y="60726"/>
                  <a:pt x="17596" y="57108"/>
                </a:cubicBezTo>
                <a:cubicBezTo>
                  <a:pt x="20110" y="56023"/>
                  <a:pt x="22265" y="54938"/>
                  <a:pt x="24419" y="54214"/>
                </a:cubicBezTo>
                <a:cubicBezTo>
                  <a:pt x="24778" y="54214"/>
                  <a:pt x="24778" y="54214"/>
                  <a:pt x="25138" y="53852"/>
                </a:cubicBezTo>
                <a:lnTo>
                  <a:pt x="24778" y="53129"/>
                </a:lnTo>
                <a:cubicBezTo>
                  <a:pt x="24778" y="28891"/>
                  <a:pt x="44170" y="8994"/>
                  <a:pt x="67513" y="8994"/>
                </a:cubicBezTo>
                <a:cubicBezTo>
                  <a:pt x="75414" y="8994"/>
                  <a:pt x="83314" y="11526"/>
                  <a:pt x="90137" y="15867"/>
                </a:cubicBezTo>
                <a:cubicBezTo>
                  <a:pt x="99474" y="4653"/>
                  <a:pt x="113479" y="-1497"/>
                  <a:pt x="128203" y="31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4" name="Freeform 33">
            <a:extLst>
              <a:ext uri="{FF2B5EF4-FFF2-40B4-BE49-F238E27FC236}">
                <a16:creationId xmlns:a16="http://schemas.microsoft.com/office/drawing/2014/main" id="{AF8486D8-7773-E380-0E49-D213AC3FE3E9}"/>
              </a:ext>
            </a:extLst>
          </p:cNvPr>
          <p:cNvSpPr>
            <a:spLocks noChangeArrowheads="1"/>
          </p:cNvSpPr>
          <p:nvPr/>
        </p:nvSpPr>
        <p:spPr bwMode="auto">
          <a:xfrm>
            <a:off x="3194332" y="2648831"/>
            <a:ext cx="1350570" cy="1070317"/>
          </a:xfrm>
          <a:custGeom>
            <a:avLst/>
            <a:gdLst>
              <a:gd name="connsiteX0" fmla="*/ 260290 w 1350570"/>
              <a:gd name="connsiteY0" fmla="*/ 706754 h 1070317"/>
              <a:gd name="connsiteX1" fmla="*/ 138006 w 1350570"/>
              <a:gd name="connsiteY1" fmla="*/ 745179 h 1070317"/>
              <a:gd name="connsiteX2" fmla="*/ 351056 w 1350570"/>
              <a:gd name="connsiteY2" fmla="*/ 870371 h 1070317"/>
              <a:gd name="connsiteX3" fmla="*/ 260290 w 1350570"/>
              <a:gd name="connsiteY3" fmla="*/ 706754 h 1070317"/>
              <a:gd name="connsiteX4" fmla="*/ 462220 w 1350570"/>
              <a:gd name="connsiteY4" fmla="*/ 690265 h 1070317"/>
              <a:gd name="connsiteX5" fmla="*/ 462220 w 1350570"/>
              <a:gd name="connsiteY5" fmla="*/ 760452 h 1070317"/>
              <a:gd name="connsiteX6" fmla="*/ 499614 w 1350570"/>
              <a:gd name="connsiteY6" fmla="*/ 742905 h 1070317"/>
              <a:gd name="connsiteX7" fmla="*/ 506852 w 1350570"/>
              <a:gd name="connsiteY7" fmla="*/ 734132 h 1070317"/>
              <a:gd name="connsiteX8" fmla="*/ 506852 w 1350570"/>
              <a:gd name="connsiteY8" fmla="*/ 729119 h 1070317"/>
              <a:gd name="connsiteX9" fmla="*/ 510472 w 1350570"/>
              <a:gd name="connsiteY9" fmla="*/ 692772 h 1070317"/>
              <a:gd name="connsiteX10" fmla="*/ 462220 w 1350570"/>
              <a:gd name="connsiteY10" fmla="*/ 690265 h 1070317"/>
              <a:gd name="connsiteX11" fmla="*/ 428024 w 1350570"/>
              <a:gd name="connsiteY11" fmla="*/ 690265 h 1070317"/>
              <a:gd name="connsiteX12" fmla="*/ 291872 w 1350570"/>
              <a:gd name="connsiteY12" fmla="*/ 703984 h 1070317"/>
              <a:gd name="connsiteX13" fmla="*/ 385094 w 1350570"/>
              <a:gd name="connsiteY13" fmla="*/ 864865 h 1070317"/>
              <a:gd name="connsiteX14" fmla="*/ 428024 w 1350570"/>
              <a:gd name="connsiteY14" fmla="*/ 787542 h 1070317"/>
              <a:gd name="connsiteX15" fmla="*/ 1038232 w 1350570"/>
              <a:gd name="connsiteY15" fmla="*/ 494405 h 1070317"/>
              <a:gd name="connsiteX16" fmla="*/ 875738 w 1350570"/>
              <a:gd name="connsiteY16" fmla="*/ 560297 h 1070317"/>
              <a:gd name="connsiteX17" fmla="*/ 824490 w 1350570"/>
              <a:gd name="connsiteY17" fmla="*/ 567757 h 1070317"/>
              <a:gd name="connsiteX18" fmla="*/ 728244 w 1350570"/>
              <a:gd name="connsiteY18" fmla="*/ 539162 h 1070317"/>
              <a:gd name="connsiteX19" fmla="*/ 547002 w 1350570"/>
              <a:gd name="connsiteY19" fmla="*/ 723164 h 1070317"/>
              <a:gd name="connsiteX20" fmla="*/ 547002 w 1350570"/>
              <a:gd name="connsiteY20" fmla="*/ 726894 h 1070317"/>
              <a:gd name="connsiteX21" fmla="*/ 514504 w 1350570"/>
              <a:gd name="connsiteY21" fmla="*/ 770408 h 1070317"/>
              <a:gd name="connsiteX22" fmla="*/ 418258 w 1350570"/>
              <a:gd name="connsiteY22" fmla="*/ 899706 h 1070317"/>
              <a:gd name="connsiteX23" fmla="*/ 550752 w 1350570"/>
              <a:gd name="connsiteY23" fmla="*/ 1035221 h 1070317"/>
              <a:gd name="connsiteX24" fmla="*/ 1185726 w 1350570"/>
              <a:gd name="connsiteY24" fmla="*/ 1035221 h 1070317"/>
              <a:gd name="connsiteX25" fmla="*/ 1318220 w 1350570"/>
              <a:gd name="connsiteY25" fmla="*/ 899706 h 1070317"/>
              <a:gd name="connsiteX26" fmla="*/ 1215724 w 1350570"/>
              <a:gd name="connsiteY26" fmla="*/ 769164 h 1070317"/>
              <a:gd name="connsiteX27" fmla="*/ 1194476 w 1350570"/>
              <a:gd name="connsiteY27" fmla="*/ 751759 h 1070317"/>
              <a:gd name="connsiteX28" fmla="*/ 1189476 w 1350570"/>
              <a:gd name="connsiteY28" fmla="*/ 724407 h 1070317"/>
              <a:gd name="connsiteX29" fmla="*/ 1191976 w 1350570"/>
              <a:gd name="connsiteY29" fmla="*/ 634893 h 1070317"/>
              <a:gd name="connsiteX30" fmla="*/ 1038232 w 1350570"/>
              <a:gd name="connsiteY30" fmla="*/ 494405 h 1070317"/>
              <a:gd name="connsiteX31" fmla="*/ 462220 w 1350570"/>
              <a:gd name="connsiteY31" fmla="*/ 475956 h 1070317"/>
              <a:gd name="connsiteX32" fmla="*/ 462220 w 1350570"/>
              <a:gd name="connsiteY32" fmla="*/ 653517 h 1070317"/>
              <a:gd name="connsiteX33" fmla="*/ 520412 w 1350570"/>
              <a:gd name="connsiteY33" fmla="*/ 656036 h 1070317"/>
              <a:gd name="connsiteX34" fmla="*/ 633006 w 1350570"/>
              <a:gd name="connsiteY34" fmla="*/ 528847 h 1070317"/>
              <a:gd name="connsiteX35" fmla="*/ 636800 w 1350570"/>
              <a:gd name="connsiteY35" fmla="*/ 475956 h 1070317"/>
              <a:gd name="connsiteX36" fmla="*/ 33596 w 1350570"/>
              <a:gd name="connsiteY36" fmla="*/ 475956 h 1070317"/>
              <a:gd name="connsiteX37" fmla="*/ 119282 w 1350570"/>
              <a:gd name="connsiteY37" fmla="*/ 716504 h 1070317"/>
              <a:gd name="connsiteX38" fmla="*/ 252162 w 1350570"/>
              <a:gd name="connsiteY38" fmla="*/ 671867 h 1070317"/>
              <a:gd name="connsiteX39" fmla="*/ 226082 w 1350570"/>
              <a:gd name="connsiteY39" fmla="*/ 475956 h 1070317"/>
              <a:gd name="connsiteX40" fmla="*/ 666796 w 1350570"/>
              <a:gd name="connsiteY40" fmla="*/ 475954 h 1070317"/>
              <a:gd name="connsiteX41" fmla="*/ 665544 w 1350570"/>
              <a:gd name="connsiteY41" fmla="*/ 513810 h 1070317"/>
              <a:gd name="connsiteX42" fmla="*/ 723140 w 1350570"/>
              <a:gd name="connsiteY42" fmla="*/ 506483 h 1070317"/>
              <a:gd name="connsiteX43" fmla="*/ 837078 w 1350570"/>
              <a:gd name="connsiteY43" fmla="*/ 539455 h 1070317"/>
              <a:gd name="connsiteX44" fmla="*/ 845842 w 1350570"/>
              <a:gd name="connsiteY44" fmla="*/ 538234 h 1070317"/>
              <a:gd name="connsiteX45" fmla="*/ 857110 w 1350570"/>
              <a:gd name="connsiteY45" fmla="*/ 524801 h 1070317"/>
              <a:gd name="connsiteX46" fmla="*/ 862118 w 1350570"/>
              <a:gd name="connsiteY46" fmla="*/ 475954 h 1070317"/>
              <a:gd name="connsiteX47" fmla="*/ 258900 w 1350570"/>
              <a:gd name="connsiteY47" fmla="*/ 475954 h 1070317"/>
              <a:gd name="connsiteX48" fmla="*/ 282352 w 1350570"/>
              <a:gd name="connsiteY48" fmla="*/ 667036 h 1070317"/>
              <a:gd name="connsiteX49" fmla="*/ 428012 w 1350570"/>
              <a:gd name="connsiteY49" fmla="*/ 652050 h 1070317"/>
              <a:gd name="connsiteX50" fmla="*/ 428012 w 1350570"/>
              <a:gd name="connsiteY50" fmla="*/ 475954 h 1070317"/>
              <a:gd name="connsiteX51" fmla="*/ 610234 w 1350570"/>
              <a:gd name="connsiteY51" fmla="*/ 256146 h 1070317"/>
              <a:gd name="connsiteX52" fmla="*/ 462220 w 1350570"/>
              <a:gd name="connsiteY52" fmla="*/ 271231 h 1070317"/>
              <a:gd name="connsiteX53" fmla="*/ 462220 w 1350570"/>
              <a:gd name="connsiteY53" fmla="*/ 447220 h 1070317"/>
              <a:gd name="connsiteX54" fmla="*/ 636800 w 1350570"/>
              <a:gd name="connsiteY54" fmla="*/ 447220 h 1070317"/>
              <a:gd name="connsiteX55" fmla="*/ 610234 w 1350570"/>
              <a:gd name="connsiteY55" fmla="*/ 256146 h 1070317"/>
              <a:gd name="connsiteX56" fmla="*/ 282352 w 1350570"/>
              <a:gd name="connsiteY56" fmla="*/ 256146 h 1070317"/>
              <a:gd name="connsiteX57" fmla="*/ 258900 w 1350570"/>
              <a:gd name="connsiteY57" fmla="*/ 447220 h 1070317"/>
              <a:gd name="connsiteX58" fmla="*/ 428012 w 1350570"/>
              <a:gd name="connsiteY58" fmla="*/ 447220 h 1070317"/>
              <a:gd name="connsiteX59" fmla="*/ 428012 w 1350570"/>
              <a:gd name="connsiteY59" fmla="*/ 271231 h 1070317"/>
              <a:gd name="connsiteX60" fmla="*/ 282352 w 1350570"/>
              <a:gd name="connsiteY60" fmla="*/ 256146 h 1070317"/>
              <a:gd name="connsiteX61" fmla="*/ 776440 w 1350570"/>
              <a:gd name="connsiteY61" fmla="*/ 201195 h 1070317"/>
              <a:gd name="connsiteX62" fmla="*/ 643562 w 1350570"/>
              <a:gd name="connsiteY62" fmla="*/ 244593 h 1070317"/>
              <a:gd name="connsiteX63" fmla="*/ 668400 w 1350570"/>
              <a:gd name="connsiteY63" fmla="*/ 441743 h 1070317"/>
              <a:gd name="connsiteX64" fmla="*/ 862128 w 1350570"/>
              <a:gd name="connsiteY64" fmla="*/ 441743 h 1070317"/>
              <a:gd name="connsiteX65" fmla="*/ 776440 w 1350570"/>
              <a:gd name="connsiteY65" fmla="*/ 201195 h 1070317"/>
              <a:gd name="connsiteX66" fmla="*/ 119282 w 1350570"/>
              <a:gd name="connsiteY66" fmla="*/ 201195 h 1070317"/>
              <a:gd name="connsiteX67" fmla="*/ 33596 w 1350570"/>
              <a:gd name="connsiteY67" fmla="*/ 441743 h 1070317"/>
              <a:gd name="connsiteX68" fmla="*/ 226082 w 1350570"/>
              <a:gd name="connsiteY68" fmla="*/ 441743 h 1070317"/>
              <a:gd name="connsiteX69" fmla="*/ 252162 w 1350570"/>
              <a:gd name="connsiteY69" fmla="*/ 244593 h 1070317"/>
              <a:gd name="connsiteX70" fmla="*/ 119282 w 1350570"/>
              <a:gd name="connsiteY70" fmla="*/ 201195 h 1070317"/>
              <a:gd name="connsiteX71" fmla="*/ 544652 w 1350570"/>
              <a:gd name="connsiteY71" fmla="*/ 47332 h 1070317"/>
              <a:gd name="connsiteX72" fmla="*/ 633614 w 1350570"/>
              <a:gd name="connsiteY72" fmla="*/ 210948 h 1070317"/>
              <a:gd name="connsiteX73" fmla="*/ 752232 w 1350570"/>
              <a:gd name="connsiteY73" fmla="*/ 173763 h 1070317"/>
              <a:gd name="connsiteX74" fmla="*/ 544652 w 1350570"/>
              <a:gd name="connsiteY74" fmla="*/ 47332 h 1070317"/>
              <a:gd name="connsiteX75" fmla="*/ 351056 w 1350570"/>
              <a:gd name="connsiteY75" fmla="*/ 47332 h 1070317"/>
              <a:gd name="connsiteX76" fmla="*/ 138006 w 1350570"/>
              <a:gd name="connsiteY76" fmla="*/ 173763 h 1070317"/>
              <a:gd name="connsiteX77" fmla="*/ 260290 w 1350570"/>
              <a:gd name="connsiteY77" fmla="*/ 210948 h 1070317"/>
              <a:gd name="connsiteX78" fmla="*/ 351056 w 1350570"/>
              <a:gd name="connsiteY78" fmla="*/ 47332 h 1070317"/>
              <a:gd name="connsiteX79" fmla="*/ 462220 w 1350570"/>
              <a:gd name="connsiteY79" fmla="*/ 36339 h 1070317"/>
              <a:gd name="connsiteX80" fmla="*/ 462220 w 1350570"/>
              <a:gd name="connsiteY80" fmla="*/ 232914 h 1070317"/>
              <a:gd name="connsiteX81" fmla="*/ 598364 w 1350570"/>
              <a:gd name="connsiteY81" fmla="*/ 219141 h 1070317"/>
              <a:gd name="connsiteX82" fmla="*/ 462220 w 1350570"/>
              <a:gd name="connsiteY82" fmla="*/ 36339 h 1070317"/>
              <a:gd name="connsiteX83" fmla="*/ 428024 w 1350570"/>
              <a:gd name="connsiteY83" fmla="*/ 36339 h 1070317"/>
              <a:gd name="connsiteX84" fmla="*/ 291872 w 1350570"/>
              <a:gd name="connsiteY84" fmla="*/ 219141 h 1070317"/>
              <a:gd name="connsiteX85" fmla="*/ 428024 w 1350570"/>
              <a:gd name="connsiteY85" fmla="*/ 232914 h 1070317"/>
              <a:gd name="connsiteX86" fmla="*/ 450190 w 1350570"/>
              <a:gd name="connsiteY86" fmla="*/ 0 h 1070317"/>
              <a:gd name="connsiteX87" fmla="*/ 900380 w 1350570"/>
              <a:gd name="connsiteY87" fmla="*/ 457996 h 1070317"/>
              <a:gd name="connsiteX88" fmla="*/ 899132 w 1350570"/>
              <a:gd name="connsiteY88" fmla="*/ 494088 h 1070317"/>
              <a:gd name="connsiteX89" fmla="*/ 1041298 w 1350570"/>
              <a:gd name="connsiteY89" fmla="*/ 460485 h 1070317"/>
              <a:gd name="connsiteX90" fmla="*/ 1223370 w 1350570"/>
              <a:gd name="connsiteY90" fmla="*/ 627255 h 1070317"/>
              <a:gd name="connsiteX91" fmla="*/ 1220876 w 1350570"/>
              <a:gd name="connsiteY91" fmla="*/ 733043 h 1070317"/>
              <a:gd name="connsiteX92" fmla="*/ 1220876 w 1350570"/>
              <a:gd name="connsiteY92" fmla="*/ 735532 h 1070317"/>
              <a:gd name="connsiteX93" fmla="*/ 1222122 w 1350570"/>
              <a:gd name="connsiteY93" fmla="*/ 735532 h 1070317"/>
              <a:gd name="connsiteX94" fmla="*/ 1350570 w 1350570"/>
              <a:gd name="connsiteY94" fmla="*/ 899813 h 1070317"/>
              <a:gd name="connsiteX95" fmla="*/ 1184710 w 1350570"/>
              <a:gd name="connsiteY95" fmla="*/ 1070317 h 1070317"/>
              <a:gd name="connsiteX96" fmla="*/ 551202 w 1350570"/>
              <a:gd name="connsiteY96" fmla="*/ 1070317 h 1070317"/>
              <a:gd name="connsiteX97" fmla="*/ 385342 w 1350570"/>
              <a:gd name="connsiteY97" fmla="*/ 911014 h 1070317"/>
              <a:gd name="connsiteX98" fmla="*/ 0 w 1350570"/>
              <a:gd name="connsiteY98" fmla="*/ 457996 h 1070317"/>
              <a:gd name="connsiteX99" fmla="*/ 450190 w 1350570"/>
              <a:gd name="connsiteY99" fmla="*/ 0 h 107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350570" h="1070317">
                <a:moveTo>
                  <a:pt x="260290" y="706754"/>
                </a:moveTo>
                <a:cubicBezTo>
                  <a:pt x="217428" y="716670"/>
                  <a:pt x="177086" y="729066"/>
                  <a:pt x="138006" y="745179"/>
                </a:cubicBezTo>
                <a:cubicBezTo>
                  <a:pt x="194736" y="805916"/>
                  <a:pt x="267854" y="850538"/>
                  <a:pt x="351056" y="870371"/>
                </a:cubicBezTo>
                <a:cubicBezTo>
                  <a:pt x="313236" y="833185"/>
                  <a:pt x="281720" y="776167"/>
                  <a:pt x="260290" y="706754"/>
                </a:cubicBezTo>
                <a:close/>
                <a:moveTo>
                  <a:pt x="462220" y="690265"/>
                </a:moveTo>
                <a:lnTo>
                  <a:pt x="462220" y="760452"/>
                </a:lnTo>
                <a:cubicBezTo>
                  <a:pt x="474282" y="752932"/>
                  <a:pt x="486346" y="747919"/>
                  <a:pt x="499614" y="742905"/>
                </a:cubicBezTo>
                <a:cubicBezTo>
                  <a:pt x="503234" y="742905"/>
                  <a:pt x="506852" y="739145"/>
                  <a:pt x="506852" y="734132"/>
                </a:cubicBezTo>
                <a:cubicBezTo>
                  <a:pt x="506852" y="732879"/>
                  <a:pt x="506852" y="730372"/>
                  <a:pt x="506852" y="729119"/>
                </a:cubicBezTo>
                <a:cubicBezTo>
                  <a:pt x="506852" y="716585"/>
                  <a:pt x="508060" y="704052"/>
                  <a:pt x="510472" y="692772"/>
                </a:cubicBezTo>
                <a:cubicBezTo>
                  <a:pt x="493584" y="691519"/>
                  <a:pt x="477902" y="690265"/>
                  <a:pt x="462220" y="690265"/>
                </a:cubicBezTo>
                <a:close/>
                <a:moveTo>
                  <a:pt x="428024" y="690265"/>
                </a:moveTo>
                <a:cubicBezTo>
                  <a:pt x="381414" y="691512"/>
                  <a:pt x="337256" y="695254"/>
                  <a:pt x="291872" y="703984"/>
                </a:cubicBezTo>
                <a:cubicBezTo>
                  <a:pt x="315178" y="777565"/>
                  <a:pt x="348296" y="834934"/>
                  <a:pt x="385094" y="864865"/>
                </a:cubicBezTo>
                <a:cubicBezTo>
                  <a:pt x="392454" y="834934"/>
                  <a:pt x="408398" y="808744"/>
                  <a:pt x="428024" y="787542"/>
                </a:cubicBezTo>
                <a:close/>
                <a:moveTo>
                  <a:pt x="1038232" y="494405"/>
                </a:moveTo>
                <a:cubicBezTo>
                  <a:pt x="975734" y="486945"/>
                  <a:pt x="915738" y="511810"/>
                  <a:pt x="875738" y="560297"/>
                </a:cubicBezTo>
                <a:cubicBezTo>
                  <a:pt x="863240" y="576460"/>
                  <a:pt x="841990" y="580189"/>
                  <a:pt x="824490" y="567757"/>
                </a:cubicBezTo>
                <a:cubicBezTo>
                  <a:pt x="795742" y="549108"/>
                  <a:pt x="761994" y="539162"/>
                  <a:pt x="728244" y="539162"/>
                </a:cubicBezTo>
                <a:cubicBezTo>
                  <a:pt x="628250" y="539162"/>
                  <a:pt x="547002" y="621217"/>
                  <a:pt x="547002" y="723164"/>
                </a:cubicBezTo>
                <a:cubicBezTo>
                  <a:pt x="547002" y="724407"/>
                  <a:pt x="547002" y="725650"/>
                  <a:pt x="547002" y="726894"/>
                </a:cubicBezTo>
                <a:cubicBezTo>
                  <a:pt x="547002" y="746786"/>
                  <a:pt x="534504" y="764191"/>
                  <a:pt x="514504" y="770408"/>
                </a:cubicBezTo>
                <a:cubicBezTo>
                  <a:pt x="458256" y="786570"/>
                  <a:pt x="418258" y="840030"/>
                  <a:pt x="418258" y="899706"/>
                </a:cubicBezTo>
                <a:cubicBezTo>
                  <a:pt x="418258" y="974301"/>
                  <a:pt x="478256" y="1035221"/>
                  <a:pt x="550752" y="1035221"/>
                </a:cubicBezTo>
                <a:lnTo>
                  <a:pt x="1185726" y="1035221"/>
                </a:lnTo>
                <a:cubicBezTo>
                  <a:pt x="1259472" y="1035221"/>
                  <a:pt x="1318220" y="974301"/>
                  <a:pt x="1318220" y="899706"/>
                </a:cubicBezTo>
                <a:cubicBezTo>
                  <a:pt x="1318220" y="837543"/>
                  <a:pt x="1275722" y="784083"/>
                  <a:pt x="1215724" y="769164"/>
                </a:cubicBezTo>
                <a:cubicBezTo>
                  <a:pt x="1206974" y="766678"/>
                  <a:pt x="1198226" y="760461"/>
                  <a:pt x="1194476" y="751759"/>
                </a:cubicBezTo>
                <a:cubicBezTo>
                  <a:pt x="1188226" y="743056"/>
                  <a:pt x="1188226" y="733110"/>
                  <a:pt x="1189476" y="724407"/>
                </a:cubicBezTo>
                <a:cubicBezTo>
                  <a:pt x="1198226" y="694569"/>
                  <a:pt x="1198226" y="664731"/>
                  <a:pt x="1191976" y="634893"/>
                </a:cubicBezTo>
                <a:cubicBezTo>
                  <a:pt x="1175726" y="559054"/>
                  <a:pt x="1113228" y="503108"/>
                  <a:pt x="1038232" y="494405"/>
                </a:cubicBezTo>
                <a:close/>
                <a:moveTo>
                  <a:pt x="462220" y="475956"/>
                </a:moveTo>
                <a:lnTo>
                  <a:pt x="462220" y="653517"/>
                </a:lnTo>
                <a:cubicBezTo>
                  <a:pt x="481196" y="653517"/>
                  <a:pt x="501436" y="654777"/>
                  <a:pt x="520412" y="656036"/>
                </a:cubicBezTo>
                <a:cubicBezTo>
                  <a:pt x="539390" y="599368"/>
                  <a:pt x="581138" y="554033"/>
                  <a:pt x="633006" y="528847"/>
                </a:cubicBezTo>
                <a:cubicBezTo>
                  <a:pt x="634270" y="509957"/>
                  <a:pt x="635536" y="493586"/>
                  <a:pt x="636800" y="475956"/>
                </a:cubicBezTo>
                <a:close/>
                <a:moveTo>
                  <a:pt x="33596" y="475956"/>
                </a:moveTo>
                <a:cubicBezTo>
                  <a:pt x="36078" y="566472"/>
                  <a:pt x="68366" y="649548"/>
                  <a:pt x="119282" y="716504"/>
                </a:cubicBezTo>
                <a:cubicBezTo>
                  <a:pt x="160264" y="697905"/>
                  <a:pt x="204970" y="684266"/>
                  <a:pt x="252162" y="671867"/>
                </a:cubicBezTo>
                <a:cubicBezTo>
                  <a:pt x="237258" y="613589"/>
                  <a:pt x="228566" y="546633"/>
                  <a:pt x="226082" y="475956"/>
                </a:cubicBezTo>
                <a:close/>
                <a:moveTo>
                  <a:pt x="666796" y="475954"/>
                </a:moveTo>
                <a:cubicBezTo>
                  <a:pt x="666796" y="488166"/>
                  <a:pt x="665544" y="501599"/>
                  <a:pt x="665544" y="513810"/>
                </a:cubicBezTo>
                <a:cubicBezTo>
                  <a:pt x="683072" y="508926"/>
                  <a:pt x="703106" y="506483"/>
                  <a:pt x="723140" y="506483"/>
                </a:cubicBezTo>
                <a:cubicBezTo>
                  <a:pt x="763206" y="506483"/>
                  <a:pt x="803272" y="516253"/>
                  <a:pt x="837078" y="539455"/>
                </a:cubicBezTo>
                <a:cubicBezTo>
                  <a:pt x="840834" y="540676"/>
                  <a:pt x="843338" y="540676"/>
                  <a:pt x="845842" y="538234"/>
                </a:cubicBezTo>
                <a:cubicBezTo>
                  <a:pt x="849598" y="533349"/>
                  <a:pt x="853354" y="528464"/>
                  <a:pt x="857110" y="524801"/>
                </a:cubicBezTo>
                <a:cubicBezTo>
                  <a:pt x="860866" y="508926"/>
                  <a:pt x="862118" y="493051"/>
                  <a:pt x="862118" y="475954"/>
                </a:cubicBezTo>
                <a:close/>
                <a:moveTo>
                  <a:pt x="258900" y="475954"/>
                </a:moveTo>
                <a:cubicBezTo>
                  <a:pt x="258900" y="544644"/>
                  <a:pt x="267540" y="609587"/>
                  <a:pt x="282352" y="667036"/>
                </a:cubicBezTo>
                <a:cubicBezTo>
                  <a:pt x="330494" y="658294"/>
                  <a:pt x="378636" y="652050"/>
                  <a:pt x="428012" y="652050"/>
                </a:cubicBezTo>
                <a:lnTo>
                  <a:pt x="428012" y="475954"/>
                </a:lnTo>
                <a:close/>
                <a:moveTo>
                  <a:pt x="610234" y="256146"/>
                </a:moveTo>
                <a:cubicBezTo>
                  <a:pt x="562160" y="264945"/>
                  <a:pt x="512822" y="269973"/>
                  <a:pt x="462220" y="271231"/>
                </a:cubicBezTo>
                <a:lnTo>
                  <a:pt x="462220" y="447220"/>
                </a:lnTo>
                <a:lnTo>
                  <a:pt x="636800" y="447220"/>
                </a:lnTo>
                <a:cubicBezTo>
                  <a:pt x="634270" y="378081"/>
                  <a:pt x="625416" y="312714"/>
                  <a:pt x="610234" y="256146"/>
                </a:cubicBezTo>
                <a:close/>
                <a:moveTo>
                  <a:pt x="282352" y="256146"/>
                </a:moveTo>
                <a:cubicBezTo>
                  <a:pt x="267540" y="312714"/>
                  <a:pt x="258900" y="378081"/>
                  <a:pt x="258900" y="447220"/>
                </a:cubicBezTo>
                <a:lnTo>
                  <a:pt x="428012" y="447220"/>
                </a:lnTo>
                <a:lnTo>
                  <a:pt x="428012" y="271231"/>
                </a:lnTo>
                <a:cubicBezTo>
                  <a:pt x="378636" y="269973"/>
                  <a:pt x="330494" y="264945"/>
                  <a:pt x="282352" y="256146"/>
                </a:cubicBezTo>
                <a:close/>
                <a:moveTo>
                  <a:pt x="776440" y="201195"/>
                </a:moveTo>
                <a:cubicBezTo>
                  <a:pt x="734218" y="219794"/>
                  <a:pt x="690752" y="234673"/>
                  <a:pt x="643562" y="244593"/>
                </a:cubicBezTo>
                <a:cubicBezTo>
                  <a:pt x="658464" y="304110"/>
                  <a:pt x="667158" y="371066"/>
                  <a:pt x="668400" y="441743"/>
                </a:cubicBezTo>
                <a:lnTo>
                  <a:pt x="862128" y="441743"/>
                </a:lnTo>
                <a:cubicBezTo>
                  <a:pt x="858402" y="352467"/>
                  <a:pt x="827356" y="268151"/>
                  <a:pt x="776440" y="201195"/>
                </a:cubicBezTo>
                <a:close/>
                <a:moveTo>
                  <a:pt x="119282" y="201195"/>
                </a:moveTo>
                <a:cubicBezTo>
                  <a:pt x="68366" y="268151"/>
                  <a:pt x="36078" y="352467"/>
                  <a:pt x="33596" y="441743"/>
                </a:cubicBezTo>
                <a:lnTo>
                  <a:pt x="226082" y="441743"/>
                </a:lnTo>
                <a:cubicBezTo>
                  <a:pt x="228566" y="371066"/>
                  <a:pt x="237258" y="304110"/>
                  <a:pt x="252162" y="244593"/>
                </a:cubicBezTo>
                <a:cubicBezTo>
                  <a:pt x="204970" y="234673"/>
                  <a:pt x="160264" y="219794"/>
                  <a:pt x="119282" y="201195"/>
                </a:cubicBezTo>
                <a:close/>
                <a:moveTo>
                  <a:pt x="544652" y="47332"/>
                </a:moveTo>
                <a:cubicBezTo>
                  <a:pt x="581718" y="83278"/>
                  <a:pt x="612608" y="140296"/>
                  <a:pt x="633614" y="210948"/>
                </a:cubicBezTo>
                <a:cubicBezTo>
                  <a:pt x="674388" y="202272"/>
                  <a:pt x="715164" y="188637"/>
                  <a:pt x="752232" y="173763"/>
                </a:cubicBezTo>
                <a:cubicBezTo>
                  <a:pt x="697866" y="111787"/>
                  <a:pt x="626200" y="67164"/>
                  <a:pt x="544652" y="47332"/>
                </a:cubicBezTo>
                <a:close/>
                <a:moveTo>
                  <a:pt x="351056" y="47332"/>
                </a:moveTo>
                <a:cubicBezTo>
                  <a:pt x="267854" y="67164"/>
                  <a:pt x="194736" y="111787"/>
                  <a:pt x="138006" y="173763"/>
                </a:cubicBezTo>
                <a:cubicBezTo>
                  <a:pt x="177086" y="188637"/>
                  <a:pt x="217428" y="202272"/>
                  <a:pt x="260290" y="210948"/>
                </a:cubicBezTo>
                <a:cubicBezTo>
                  <a:pt x="281720" y="140296"/>
                  <a:pt x="313236" y="83278"/>
                  <a:pt x="351056" y="47332"/>
                </a:cubicBezTo>
                <a:close/>
                <a:moveTo>
                  <a:pt x="462220" y="36339"/>
                </a:moveTo>
                <a:lnTo>
                  <a:pt x="462220" y="232914"/>
                </a:lnTo>
                <a:cubicBezTo>
                  <a:pt x="508014" y="231662"/>
                  <a:pt x="553808" y="227905"/>
                  <a:pt x="598364" y="219141"/>
                </a:cubicBezTo>
                <a:cubicBezTo>
                  <a:pt x="567422" y="117723"/>
                  <a:pt x="516678" y="47607"/>
                  <a:pt x="462220" y="36339"/>
                </a:cubicBezTo>
                <a:close/>
                <a:moveTo>
                  <a:pt x="428024" y="36339"/>
                </a:moveTo>
                <a:cubicBezTo>
                  <a:pt x="372828" y="47607"/>
                  <a:pt x="323764" y="117723"/>
                  <a:pt x="291872" y="219141"/>
                </a:cubicBezTo>
                <a:cubicBezTo>
                  <a:pt x="337256" y="227905"/>
                  <a:pt x="381414" y="231662"/>
                  <a:pt x="428024" y="232914"/>
                </a:cubicBezTo>
                <a:close/>
                <a:moveTo>
                  <a:pt x="450190" y="0"/>
                </a:moveTo>
                <a:cubicBezTo>
                  <a:pt x="698356" y="0"/>
                  <a:pt x="900380" y="205352"/>
                  <a:pt x="900380" y="457996"/>
                </a:cubicBezTo>
                <a:cubicBezTo>
                  <a:pt x="900380" y="470442"/>
                  <a:pt x="900380" y="481643"/>
                  <a:pt x="899132" y="494088"/>
                </a:cubicBezTo>
                <a:cubicBezTo>
                  <a:pt x="940286" y="466708"/>
                  <a:pt x="991416" y="454262"/>
                  <a:pt x="1041298" y="460485"/>
                </a:cubicBezTo>
                <a:cubicBezTo>
                  <a:pt x="1129840" y="470442"/>
                  <a:pt x="1203416" y="537648"/>
                  <a:pt x="1223370" y="627255"/>
                </a:cubicBezTo>
                <a:cubicBezTo>
                  <a:pt x="1232098" y="662103"/>
                  <a:pt x="1230852" y="698195"/>
                  <a:pt x="1220876" y="733043"/>
                </a:cubicBezTo>
                <a:cubicBezTo>
                  <a:pt x="1220876" y="734287"/>
                  <a:pt x="1220876" y="734287"/>
                  <a:pt x="1220876" y="735532"/>
                </a:cubicBezTo>
                <a:cubicBezTo>
                  <a:pt x="1222122" y="735532"/>
                  <a:pt x="1222122" y="735532"/>
                  <a:pt x="1222122" y="735532"/>
                </a:cubicBezTo>
                <a:cubicBezTo>
                  <a:pt x="1298194" y="754200"/>
                  <a:pt x="1350570" y="821406"/>
                  <a:pt x="1350570" y="899813"/>
                </a:cubicBezTo>
                <a:cubicBezTo>
                  <a:pt x="1350570" y="993154"/>
                  <a:pt x="1275746" y="1070317"/>
                  <a:pt x="1184710" y="1070317"/>
                </a:cubicBezTo>
                <a:lnTo>
                  <a:pt x="551202" y="1070317"/>
                </a:lnTo>
                <a:cubicBezTo>
                  <a:pt x="463908" y="1070317"/>
                  <a:pt x="391578" y="999377"/>
                  <a:pt x="385342" y="911014"/>
                </a:cubicBezTo>
                <a:cubicBezTo>
                  <a:pt x="168354" y="879900"/>
                  <a:pt x="0" y="688239"/>
                  <a:pt x="0" y="457996"/>
                </a:cubicBezTo>
                <a:cubicBezTo>
                  <a:pt x="0" y="205352"/>
                  <a:pt x="202024" y="0"/>
                  <a:pt x="450190" y="0"/>
                </a:cubicBezTo>
                <a:close/>
              </a:path>
            </a:pathLst>
          </a:custGeom>
          <a:solidFill>
            <a:srgbClr val="FFFFFF"/>
          </a:solidFill>
          <a:ln>
            <a:noFill/>
          </a:ln>
          <a:effectLst/>
        </p:spPr>
        <p:txBody>
          <a:bodyPr wrap="square" anchor="ctr">
            <a:noAutofit/>
          </a:bodyPr>
          <a:lstStyle/>
          <a:p>
            <a:endParaRPr lang="en-US" sz="6532" dirty="0">
              <a:latin typeface="Poppins" pitchFamily="2" charset="77"/>
            </a:endParaRPr>
          </a:p>
        </p:txBody>
      </p:sp>
      <p:sp>
        <p:nvSpPr>
          <p:cNvPr id="35" name="Freeform 928">
            <a:extLst>
              <a:ext uri="{FF2B5EF4-FFF2-40B4-BE49-F238E27FC236}">
                <a16:creationId xmlns:a16="http://schemas.microsoft.com/office/drawing/2014/main" id="{4B75443E-0823-22B2-0344-62C4D22DC35F}"/>
              </a:ext>
            </a:extLst>
          </p:cNvPr>
          <p:cNvSpPr>
            <a:spLocks noChangeArrowheads="1"/>
          </p:cNvSpPr>
          <p:nvPr/>
        </p:nvSpPr>
        <p:spPr bwMode="auto">
          <a:xfrm>
            <a:off x="9969736" y="2592070"/>
            <a:ext cx="1342454" cy="1342454"/>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36" name="Freeform 949">
            <a:extLst>
              <a:ext uri="{FF2B5EF4-FFF2-40B4-BE49-F238E27FC236}">
                <a16:creationId xmlns:a16="http://schemas.microsoft.com/office/drawing/2014/main" id="{C0C01983-C4E5-1F02-65BC-8EC9FC7C5C47}"/>
              </a:ext>
            </a:extLst>
          </p:cNvPr>
          <p:cNvSpPr>
            <a:spLocks noChangeAspect="1" noChangeArrowheads="1"/>
          </p:cNvSpPr>
          <p:nvPr/>
        </p:nvSpPr>
        <p:spPr bwMode="auto">
          <a:xfrm>
            <a:off x="5585880" y="2592070"/>
            <a:ext cx="944040" cy="946876"/>
          </a:xfrm>
          <a:custGeom>
            <a:avLst/>
            <a:gdLst>
              <a:gd name="T0" fmla="*/ 873075 w 291288"/>
              <a:gd name="T1" fmla="*/ 2795955 h 291739"/>
              <a:gd name="T2" fmla="*/ 825138 w 291288"/>
              <a:gd name="T3" fmla="*/ 3109255 h 291739"/>
              <a:gd name="T4" fmla="*/ 1567832 w 291288"/>
              <a:gd name="T5" fmla="*/ 3109255 h 291739"/>
              <a:gd name="T6" fmla="*/ 1567832 w 291288"/>
              <a:gd name="T7" fmla="*/ 2795955 h 291739"/>
              <a:gd name="T8" fmla="*/ 932966 w 291288"/>
              <a:gd name="T9" fmla="*/ 2427114 h 291739"/>
              <a:gd name="T10" fmla="*/ 889032 w 291288"/>
              <a:gd name="T11" fmla="*/ 2696803 h 291739"/>
              <a:gd name="T12" fmla="*/ 1615749 w 291288"/>
              <a:gd name="T13" fmla="*/ 2696803 h 291739"/>
              <a:gd name="T14" fmla="*/ 1663649 w 291288"/>
              <a:gd name="T15" fmla="*/ 2748367 h 291739"/>
              <a:gd name="T16" fmla="*/ 1663649 w 291288"/>
              <a:gd name="T17" fmla="*/ 3109255 h 291739"/>
              <a:gd name="T18" fmla="*/ 2973334 w 291288"/>
              <a:gd name="T19" fmla="*/ 3109255 h 291739"/>
              <a:gd name="T20" fmla="*/ 1603782 w 291288"/>
              <a:gd name="T21" fmla="*/ 2427114 h 291739"/>
              <a:gd name="T22" fmla="*/ 322044 w 291288"/>
              <a:gd name="T23" fmla="*/ 2427114 h 291739"/>
              <a:gd name="T24" fmla="*/ 114416 w 291288"/>
              <a:gd name="T25" fmla="*/ 3109255 h 291739"/>
              <a:gd name="T26" fmla="*/ 725308 w 291288"/>
              <a:gd name="T27" fmla="*/ 3109255 h 291739"/>
              <a:gd name="T28" fmla="*/ 837119 w 291288"/>
              <a:gd name="T29" fmla="*/ 2427114 h 291739"/>
              <a:gd name="T30" fmla="*/ 2861559 w 291288"/>
              <a:gd name="T31" fmla="*/ 2268491 h 291739"/>
              <a:gd name="T32" fmla="*/ 2178738 w 291288"/>
              <a:gd name="T33" fmla="*/ 2609551 h 291739"/>
              <a:gd name="T34" fmla="*/ 3101105 w 291288"/>
              <a:gd name="T35" fmla="*/ 3065636 h 291739"/>
              <a:gd name="T36" fmla="*/ 2090912 w 291288"/>
              <a:gd name="T37" fmla="*/ 1911559 h 291739"/>
              <a:gd name="T38" fmla="*/ 1695617 w 291288"/>
              <a:gd name="T39" fmla="*/ 2367632 h 291739"/>
              <a:gd name="T40" fmla="*/ 2070956 w 291288"/>
              <a:gd name="T41" fmla="*/ 2550070 h 291739"/>
              <a:gd name="T42" fmla="*/ 2833573 w 291288"/>
              <a:gd name="T43" fmla="*/ 2173303 h 291739"/>
              <a:gd name="T44" fmla="*/ 2753701 w 291288"/>
              <a:gd name="T45" fmla="*/ 1911559 h 291739"/>
              <a:gd name="T46" fmla="*/ 1020803 w 291288"/>
              <a:gd name="T47" fmla="*/ 1911559 h 291739"/>
              <a:gd name="T48" fmla="*/ 952932 w 291288"/>
              <a:gd name="T49" fmla="*/ 2331935 h 291739"/>
              <a:gd name="T50" fmla="*/ 1495937 w 291288"/>
              <a:gd name="T51" fmla="*/ 2331935 h 291739"/>
              <a:gd name="T52" fmla="*/ 1140594 w 291288"/>
              <a:gd name="T53" fmla="*/ 1911559 h 291739"/>
              <a:gd name="T54" fmla="*/ 477753 w 291288"/>
              <a:gd name="T55" fmla="*/ 1911559 h 291739"/>
              <a:gd name="T56" fmla="*/ 349984 w 291288"/>
              <a:gd name="T57" fmla="*/ 2331935 h 291739"/>
              <a:gd name="T58" fmla="*/ 853117 w 291288"/>
              <a:gd name="T59" fmla="*/ 2331935 h 291739"/>
              <a:gd name="T60" fmla="*/ 920988 w 291288"/>
              <a:gd name="T61" fmla="*/ 1911559 h 291739"/>
              <a:gd name="T62" fmla="*/ 1615749 w 291288"/>
              <a:gd name="T63" fmla="*/ 566600 h 291739"/>
              <a:gd name="T64" fmla="*/ 1277311 w 291288"/>
              <a:gd name="T65" fmla="*/ 907845 h 291739"/>
              <a:gd name="T66" fmla="*/ 1615749 w 291288"/>
              <a:gd name="T67" fmla="*/ 1245099 h 291739"/>
              <a:gd name="T68" fmla="*/ 1954201 w 291288"/>
              <a:gd name="T69" fmla="*/ 907845 h 291739"/>
              <a:gd name="T70" fmla="*/ 1615749 w 291288"/>
              <a:gd name="T71" fmla="*/ 566600 h 291739"/>
              <a:gd name="T72" fmla="*/ 1615749 w 291288"/>
              <a:gd name="T73" fmla="*/ 471356 h 291739"/>
              <a:gd name="T74" fmla="*/ 2053733 w 291288"/>
              <a:gd name="T75" fmla="*/ 907845 h 291739"/>
              <a:gd name="T76" fmla="*/ 1615749 w 291288"/>
              <a:gd name="T77" fmla="*/ 1340336 h 291739"/>
              <a:gd name="T78" fmla="*/ 1177757 w 291288"/>
              <a:gd name="T79" fmla="*/ 907845 h 291739"/>
              <a:gd name="T80" fmla="*/ 1615749 w 291288"/>
              <a:gd name="T81" fmla="*/ 471356 h 291739"/>
              <a:gd name="T82" fmla="*/ 1615749 w 291288"/>
              <a:gd name="T83" fmla="*/ 95201 h 291739"/>
              <a:gd name="T84" fmla="*/ 809176 w 291288"/>
              <a:gd name="T85" fmla="*/ 896289 h 291739"/>
              <a:gd name="T86" fmla="*/ 1615749 w 291288"/>
              <a:gd name="T87" fmla="*/ 2312106 h 291739"/>
              <a:gd name="T88" fmla="*/ 2418321 w 291288"/>
              <a:gd name="T89" fmla="*/ 896289 h 291739"/>
              <a:gd name="T90" fmla="*/ 1615749 w 291288"/>
              <a:gd name="T91" fmla="*/ 95201 h 291739"/>
              <a:gd name="T92" fmla="*/ 1615749 w 291288"/>
              <a:gd name="T93" fmla="*/ 0 h 291739"/>
              <a:gd name="T94" fmla="*/ 2514142 w 291288"/>
              <a:gd name="T95" fmla="*/ 896289 h 291739"/>
              <a:gd name="T96" fmla="*/ 2154774 w 291288"/>
              <a:gd name="T97" fmla="*/ 1812402 h 291739"/>
              <a:gd name="T98" fmla="*/ 2789634 w 291288"/>
              <a:gd name="T99" fmla="*/ 1812402 h 291739"/>
              <a:gd name="T100" fmla="*/ 2833573 w 291288"/>
              <a:gd name="T101" fmla="*/ 1848099 h 291739"/>
              <a:gd name="T102" fmla="*/ 3224882 w 291288"/>
              <a:gd name="T103" fmla="*/ 3140984 h 291739"/>
              <a:gd name="T104" fmla="*/ 3220897 w 291288"/>
              <a:gd name="T105" fmla="*/ 3188573 h 291739"/>
              <a:gd name="T106" fmla="*/ 3180961 w 291288"/>
              <a:gd name="T107" fmla="*/ 3208396 h 291739"/>
              <a:gd name="T108" fmla="*/ 46558 w 291288"/>
              <a:gd name="T109" fmla="*/ 3208396 h 291739"/>
              <a:gd name="T110" fmla="*/ 6633 w 291288"/>
              <a:gd name="T111" fmla="*/ 3188573 h 291739"/>
              <a:gd name="T112" fmla="*/ 2641 w 291288"/>
              <a:gd name="T113" fmla="*/ 3140984 h 291739"/>
              <a:gd name="T114" fmla="*/ 393917 w 291288"/>
              <a:gd name="T115" fmla="*/ 1848099 h 291739"/>
              <a:gd name="T116" fmla="*/ 441828 w 291288"/>
              <a:gd name="T117" fmla="*/ 1812402 h 291739"/>
              <a:gd name="T118" fmla="*/ 1068706 w 291288"/>
              <a:gd name="T119" fmla="*/ 1812402 h 291739"/>
              <a:gd name="T120" fmla="*/ 713343 w 291288"/>
              <a:gd name="T121" fmla="*/ 896289 h 291739"/>
              <a:gd name="T122" fmla="*/ 1615749 w 291288"/>
              <a:gd name="T123" fmla="*/ 0 h 2917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1288" h="291739">
                <a:moveTo>
                  <a:pt x="78754" y="254235"/>
                </a:moveTo>
                <a:lnTo>
                  <a:pt x="74431" y="282724"/>
                </a:lnTo>
                <a:lnTo>
                  <a:pt x="141424" y="282724"/>
                </a:lnTo>
                <a:lnTo>
                  <a:pt x="141424" y="254235"/>
                </a:lnTo>
                <a:lnTo>
                  <a:pt x="78754" y="254235"/>
                </a:lnTo>
                <a:close/>
                <a:moveTo>
                  <a:pt x="84156" y="220698"/>
                </a:moveTo>
                <a:lnTo>
                  <a:pt x="80194" y="245220"/>
                </a:lnTo>
                <a:lnTo>
                  <a:pt x="145746" y="245220"/>
                </a:lnTo>
                <a:cubicBezTo>
                  <a:pt x="147907" y="245220"/>
                  <a:pt x="150068" y="247384"/>
                  <a:pt x="150068" y="249908"/>
                </a:cubicBezTo>
                <a:lnTo>
                  <a:pt x="150068" y="282724"/>
                </a:lnTo>
                <a:lnTo>
                  <a:pt x="268205" y="282724"/>
                </a:lnTo>
                <a:lnTo>
                  <a:pt x="144666" y="220698"/>
                </a:lnTo>
                <a:lnTo>
                  <a:pt x="84156" y="220698"/>
                </a:lnTo>
                <a:close/>
                <a:moveTo>
                  <a:pt x="29050" y="220698"/>
                </a:moveTo>
                <a:lnTo>
                  <a:pt x="10321" y="282724"/>
                </a:lnTo>
                <a:lnTo>
                  <a:pt x="65427" y="282724"/>
                </a:lnTo>
                <a:lnTo>
                  <a:pt x="75512" y="220698"/>
                </a:lnTo>
                <a:lnTo>
                  <a:pt x="29050" y="220698"/>
                </a:lnTo>
                <a:close/>
                <a:moveTo>
                  <a:pt x="258120" y="206273"/>
                </a:moveTo>
                <a:lnTo>
                  <a:pt x="196530" y="237286"/>
                </a:lnTo>
                <a:lnTo>
                  <a:pt x="279730" y="278757"/>
                </a:lnTo>
                <a:lnTo>
                  <a:pt x="258120" y="206273"/>
                </a:lnTo>
                <a:close/>
                <a:moveTo>
                  <a:pt x="188607" y="173818"/>
                </a:moveTo>
                <a:cubicBezTo>
                  <a:pt x="174200" y="192930"/>
                  <a:pt x="160153" y="208076"/>
                  <a:pt x="152950" y="215289"/>
                </a:cubicBezTo>
                <a:lnTo>
                  <a:pt x="186806" y="231877"/>
                </a:lnTo>
                <a:lnTo>
                  <a:pt x="255599" y="197618"/>
                </a:lnTo>
                <a:lnTo>
                  <a:pt x="248395" y="173818"/>
                </a:lnTo>
                <a:lnTo>
                  <a:pt x="188607" y="173818"/>
                </a:lnTo>
                <a:close/>
                <a:moveTo>
                  <a:pt x="92080" y="173818"/>
                </a:moveTo>
                <a:lnTo>
                  <a:pt x="85957" y="212043"/>
                </a:lnTo>
                <a:lnTo>
                  <a:pt x="134941" y="212043"/>
                </a:lnTo>
                <a:cubicBezTo>
                  <a:pt x="127377" y="204109"/>
                  <a:pt x="115131" y="190406"/>
                  <a:pt x="102885" y="173818"/>
                </a:cubicBezTo>
                <a:lnTo>
                  <a:pt x="92080" y="173818"/>
                </a:lnTo>
                <a:close/>
                <a:moveTo>
                  <a:pt x="43096" y="173818"/>
                </a:moveTo>
                <a:lnTo>
                  <a:pt x="31571" y="212043"/>
                </a:lnTo>
                <a:lnTo>
                  <a:pt x="76953" y="212043"/>
                </a:lnTo>
                <a:lnTo>
                  <a:pt x="83076" y="173818"/>
                </a:lnTo>
                <a:lnTo>
                  <a:pt x="43096" y="173818"/>
                </a:lnTo>
                <a:close/>
                <a:moveTo>
                  <a:pt x="145746" y="51521"/>
                </a:moveTo>
                <a:cubicBezTo>
                  <a:pt x="128866" y="51521"/>
                  <a:pt x="115217" y="65592"/>
                  <a:pt x="115217" y="82550"/>
                </a:cubicBezTo>
                <a:cubicBezTo>
                  <a:pt x="115217" y="99507"/>
                  <a:pt x="128866" y="113217"/>
                  <a:pt x="145746" y="113217"/>
                </a:cubicBezTo>
                <a:cubicBezTo>
                  <a:pt x="162627" y="113217"/>
                  <a:pt x="176275" y="99507"/>
                  <a:pt x="176275" y="82550"/>
                </a:cubicBezTo>
                <a:cubicBezTo>
                  <a:pt x="176275" y="65592"/>
                  <a:pt x="162627" y="51521"/>
                  <a:pt x="145746" y="51521"/>
                </a:cubicBezTo>
                <a:close/>
                <a:moveTo>
                  <a:pt x="145746" y="42862"/>
                </a:moveTo>
                <a:cubicBezTo>
                  <a:pt x="167296" y="42862"/>
                  <a:pt x="185254" y="60541"/>
                  <a:pt x="185254" y="82550"/>
                </a:cubicBezTo>
                <a:cubicBezTo>
                  <a:pt x="185254" y="104197"/>
                  <a:pt x="167296" y="121876"/>
                  <a:pt x="145746" y="121876"/>
                </a:cubicBezTo>
                <a:cubicBezTo>
                  <a:pt x="123837" y="121876"/>
                  <a:pt x="106238" y="104197"/>
                  <a:pt x="106238" y="82550"/>
                </a:cubicBezTo>
                <a:cubicBezTo>
                  <a:pt x="106238" y="60541"/>
                  <a:pt x="123837" y="42862"/>
                  <a:pt x="145746" y="42862"/>
                </a:cubicBezTo>
                <a:close/>
                <a:moveTo>
                  <a:pt x="145746" y="8655"/>
                </a:moveTo>
                <a:cubicBezTo>
                  <a:pt x="105767" y="8655"/>
                  <a:pt x="72991" y="41471"/>
                  <a:pt x="72991" y="81500"/>
                </a:cubicBezTo>
                <a:cubicBezTo>
                  <a:pt x="72991" y="133428"/>
                  <a:pt x="131339" y="195815"/>
                  <a:pt x="145746" y="210240"/>
                </a:cubicBezTo>
                <a:cubicBezTo>
                  <a:pt x="159793" y="195815"/>
                  <a:pt x="218141" y="133068"/>
                  <a:pt x="218141" y="81500"/>
                </a:cubicBezTo>
                <a:cubicBezTo>
                  <a:pt x="218141" y="41471"/>
                  <a:pt x="185725" y="8655"/>
                  <a:pt x="145746" y="8655"/>
                </a:cubicBezTo>
                <a:close/>
                <a:moveTo>
                  <a:pt x="145746" y="0"/>
                </a:moveTo>
                <a:cubicBezTo>
                  <a:pt x="190408" y="0"/>
                  <a:pt x="226785" y="36422"/>
                  <a:pt x="226785" y="81500"/>
                </a:cubicBezTo>
                <a:cubicBezTo>
                  <a:pt x="226785" y="109628"/>
                  <a:pt x="211658" y="139920"/>
                  <a:pt x="194369" y="164802"/>
                </a:cubicBezTo>
                <a:lnTo>
                  <a:pt x="251637" y="164802"/>
                </a:lnTo>
                <a:cubicBezTo>
                  <a:pt x="253438" y="164802"/>
                  <a:pt x="255239" y="166245"/>
                  <a:pt x="255599" y="168048"/>
                </a:cubicBezTo>
                <a:lnTo>
                  <a:pt x="290896" y="285609"/>
                </a:lnTo>
                <a:cubicBezTo>
                  <a:pt x="291616" y="287051"/>
                  <a:pt x="291256" y="288494"/>
                  <a:pt x="290536" y="289936"/>
                </a:cubicBezTo>
                <a:cubicBezTo>
                  <a:pt x="289455" y="291018"/>
                  <a:pt x="288375" y="291739"/>
                  <a:pt x="286934" y="291739"/>
                </a:cubicBezTo>
                <a:lnTo>
                  <a:pt x="4198" y="291739"/>
                </a:lnTo>
                <a:cubicBezTo>
                  <a:pt x="3117" y="291739"/>
                  <a:pt x="1677" y="291018"/>
                  <a:pt x="596" y="289936"/>
                </a:cubicBezTo>
                <a:cubicBezTo>
                  <a:pt x="-124" y="288494"/>
                  <a:pt x="-124" y="287051"/>
                  <a:pt x="236" y="285609"/>
                </a:cubicBezTo>
                <a:lnTo>
                  <a:pt x="35533" y="168048"/>
                </a:lnTo>
                <a:cubicBezTo>
                  <a:pt x="36253" y="166245"/>
                  <a:pt x="37694" y="164802"/>
                  <a:pt x="39855" y="164802"/>
                </a:cubicBezTo>
                <a:lnTo>
                  <a:pt x="96402" y="164802"/>
                </a:lnTo>
                <a:cubicBezTo>
                  <a:pt x="79834" y="139920"/>
                  <a:pt x="64347" y="109628"/>
                  <a:pt x="64347" y="81500"/>
                </a:cubicBezTo>
                <a:cubicBezTo>
                  <a:pt x="64347" y="36422"/>
                  <a:pt x="100724" y="0"/>
                  <a:pt x="145746"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37" name="TextBox 36">
            <a:extLst>
              <a:ext uri="{FF2B5EF4-FFF2-40B4-BE49-F238E27FC236}">
                <a16:creationId xmlns:a16="http://schemas.microsoft.com/office/drawing/2014/main" id="{E78671DC-6707-8FDB-0422-093C08C93DE0}"/>
              </a:ext>
            </a:extLst>
          </p:cNvPr>
          <p:cNvSpPr txBox="1"/>
          <p:nvPr/>
        </p:nvSpPr>
        <p:spPr>
          <a:xfrm>
            <a:off x="5129541" y="4193623"/>
            <a:ext cx="1879600" cy="677108"/>
          </a:xfrm>
          <a:prstGeom prst="rect">
            <a:avLst/>
          </a:prstGeom>
          <a:noFill/>
        </p:spPr>
        <p:txBody>
          <a:bodyPr wrap="square" lIns="0" tIns="0" rIns="0" bIns="0" rtlCol="0">
            <a:spAutoFit/>
          </a:bodyPr>
          <a:lstStyle/>
          <a:p>
            <a:pPr algn="ctr"/>
            <a:r>
              <a:rPr lang="en-US" sz="4400" b="1" dirty="0">
                <a:solidFill>
                  <a:schemeClr val="accent3"/>
                </a:solidFill>
              </a:rPr>
              <a:t>62.5%</a:t>
            </a:r>
          </a:p>
        </p:txBody>
      </p:sp>
      <p:sp>
        <p:nvSpPr>
          <p:cNvPr id="38" name="TextBox 37">
            <a:extLst>
              <a:ext uri="{FF2B5EF4-FFF2-40B4-BE49-F238E27FC236}">
                <a16:creationId xmlns:a16="http://schemas.microsoft.com/office/drawing/2014/main" id="{500702C9-EF30-77BE-DD36-68700CEDD13B}"/>
              </a:ext>
            </a:extLst>
          </p:cNvPr>
          <p:cNvSpPr txBox="1"/>
          <p:nvPr/>
        </p:nvSpPr>
        <p:spPr>
          <a:xfrm>
            <a:off x="2701860" y="4487176"/>
            <a:ext cx="1879600" cy="677108"/>
          </a:xfrm>
          <a:prstGeom prst="rect">
            <a:avLst/>
          </a:prstGeom>
          <a:noFill/>
        </p:spPr>
        <p:txBody>
          <a:bodyPr wrap="square" lIns="0" tIns="0" rIns="0" bIns="0" rtlCol="0">
            <a:spAutoFit/>
          </a:bodyPr>
          <a:lstStyle/>
          <a:p>
            <a:pPr algn="ctr"/>
            <a:r>
              <a:rPr lang="en-US" sz="4400" b="1" dirty="0">
                <a:solidFill>
                  <a:schemeClr val="bg1">
                    <a:lumMod val="50000"/>
                  </a:schemeClr>
                </a:solidFill>
              </a:rPr>
              <a:t>+4%</a:t>
            </a:r>
          </a:p>
        </p:txBody>
      </p:sp>
      <p:sp>
        <p:nvSpPr>
          <p:cNvPr id="39" name="TextBox 38">
            <a:extLst>
              <a:ext uri="{FF2B5EF4-FFF2-40B4-BE49-F238E27FC236}">
                <a16:creationId xmlns:a16="http://schemas.microsoft.com/office/drawing/2014/main" id="{F5EF9D00-5794-262D-2311-2B042A8435DD}"/>
              </a:ext>
            </a:extLst>
          </p:cNvPr>
          <p:cNvSpPr txBox="1"/>
          <p:nvPr/>
        </p:nvSpPr>
        <p:spPr>
          <a:xfrm>
            <a:off x="2701860" y="5161620"/>
            <a:ext cx="2037141" cy="461665"/>
          </a:xfrm>
          <a:prstGeom prst="rect">
            <a:avLst/>
          </a:prstGeom>
          <a:noFill/>
        </p:spPr>
        <p:txBody>
          <a:bodyPr wrap="square">
            <a:spAutoFit/>
          </a:bodyPr>
          <a:lstStyle/>
          <a:p>
            <a:r>
              <a:rPr lang="en-US" sz="2400" b="1" dirty="0">
                <a:solidFill>
                  <a:schemeClr val="bg1">
                    <a:lumMod val="50000"/>
                  </a:schemeClr>
                </a:solidFill>
              </a:rPr>
              <a:t>+192 Million</a:t>
            </a:r>
            <a:endParaRPr lang="en-US" sz="2400" dirty="0">
              <a:solidFill>
                <a:schemeClr val="bg1">
                  <a:lumMod val="50000"/>
                </a:schemeClr>
              </a:solidFill>
            </a:endParaRPr>
          </a:p>
        </p:txBody>
      </p:sp>
      <p:sp>
        <p:nvSpPr>
          <p:cNvPr id="40" name="TextBox 39">
            <a:extLst>
              <a:ext uri="{FF2B5EF4-FFF2-40B4-BE49-F238E27FC236}">
                <a16:creationId xmlns:a16="http://schemas.microsoft.com/office/drawing/2014/main" id="{53FC58BA-9E95-A492-CB99-8A5F7B3001B8}"/>
              </a:ext>
            </a:extLst>
          </p:cNvPr>
          <p:cNvSpPr txBox="1"/>
          <p:nvPr/>
        </p:nvSpPr>
        <p:spPr>
          <a:xfrm>
            <a:off x="7457707" y="4487377"/>
            <a:ext cx="2021853" cy="677108"/>
          </a:xfrm>
          <a:prstGeom prst="rect">
            <a:avLst/>
          </a:prstGeom>
          <a:noFill/>
        </p:spPr>
        <p:txBody>
          <a:bodyPr wrap="square" lIns="0" tIns="0" rIns="0" bIns="0" rtlCol="0">
            <a:spAutoFit/>
          </a:bodyPr>
          <a:lstStyle/>
          <a:p>
            <a:pPr algn="ctr"/>
            <a:r>
              <a:rPr lang="en-US" sz="4400" b="1" dirty="0">
                <a:solidFill>
                  <a:schemeClr val="bg1">
                    <a:lumMod val="75000"/>
                  </a:schemeClr>
                </a:solidFill>
              </a:rPr>
              <a:t>7H</a:t>
            </a:r>
          </a:p>
        </p:txBody>
      </p:sp>
      <p:sp>
        <p:nvSpPr>
          <p:cNvPr id="42" name="TextBox 41">
            <a:extLst>
              <a:ext uri="{FF2B5EF4-FFF2-40B4-BE49-F238E27FC236}">
                <a16:creationId xmlns:a16="http://schemas.microsoft.com/office/drawing/2014/main" id="{991948BD-D223-F98A-3E08-649FF2F1F956}"/>
              </a:ext>
            </a:extLst>
          </p:cNvPr>
          <p:cNvSpPr txBox="1"/>
          <p:nvPr/>
        </p:nvSpPr>
        <p:spPr>
          <a:xfrm>
            <a:off x="550445" y="4189117"/>
            <a:ext cx="1879600" cy="677108"/>
          </a:xfrm>
          <a:prstGeom prst="rect">
            <a:avLst/>
          </a:prstGeom>
          <a:noFill/>
        </p:spPr>
        <p:txBody>
          <a:bodyPr wrap="square" lIns="0" tIns="0" rIns="0" bIns="0" rtlCol="0">
            <a:spAutoFit/>
          </a:bodyPr>
          <a:lstStyle/>
          <a:p>
            <a:pPr algn="ctr"/>
            <a:r>
              <a:rPr lang="en-US" sz="4400" b="1" dirty="0">
                <a:solidFill>
                  <a:schemeClr val="bg2"/>
                </a:solidFill>
              </a:rPr>
              <a:t>4.95</a:t>
            </a:r>
          </a:p>
        </p:txBody>
      </p:sp>
      <p:sp>
        <p:nvSpPr>
          <p:cNvPr id="43" name="TextBox 42">
            <a:extLst>
              <a:ext uri="{FF2B5EF4-FFF2-40B4-BE49-F238E27FC236}">
                <a16:creationId xmlns:a16="http://schemas.microsoft.com/office/drawing/2014/main" id="{CAA4C107-6EA5-2A8C-3749-60EF262330B2}"/>
              </a:ext>
            </a:extLst>
          </p:cNvPr>
          <p:cNvSpPr txBox="1"/>
          <p:nvPr/>
        </p:nvSpPr>
        <p:spPr>
          <a:xfrm>
            <a:off x="951612" y="4692822"/>
            <a:ext cx="1331514" cy="461665"/>
          </a:xfrm>
          <a:prstGeom prst="rect">
            <a:avLst/>
          </a:prstGeom>
          <a:noFill/>
        </p:spPr>
        <p:txBody>
          <a:bodyPr wrap="square">
            <a:spAutoFit/>
          </a:bodyPr>
          <a:lstStyle/>
          <a:p>
            <a:r>
              <a:rPr lang="en-US" sz="2400" b="1" dirty="0">
                <a:solidFill>
                  <a:schemeClr val="bg2"/>
                </a:solidFill>
              </a:rPr>
              <a:t>Billion</a:t>
            </a:r>
            <a:endParaRPr lang="en-US" sz="2400" dirty="0">
              <a:solidFill>
                <a:schemeClr val="bg2"/>
              </a:solidFill>
            </a:endParaRPr>
          </a:p>
        </p:txBody>
      </p:sp>
      <p:sp>
        <p:nvSpPr>
          <p:cNvPr id="44" name="TextBox 43">
            <a:extLst>
              <a:ext uri="{FF2B5EF4-FFF2-40B4-BE49-F238E27FC236}">
                <a16:creationId xmlns:a16="http://schemas.microsoft.com/office/drawing/2014/main" id="{EC777244-E9E4-3139-D582-ECCE98516F47}"/>
              </a:ext>
            </a:extLst>
          </p:cNvPr>
          <p:cNvSpPr txBox="1"/>
          <p:nvPr/>
        </p:nvSpPr>
        <p:spPr>
          <a:xfrm>
            <a:off x="9928126" y="4487176"/>
            <a:ext cx="1879600" cy="677108"/>
          </a:xfrm>
          <a:prstGeom prst="rect">
            <a:avLst/>
          </a:prstGeom>
          <a:noFill/>
        </p:spPr>
        <p:txBody>
          <a:bodyPr wrap="square" lIns="0" tIns="0" rIns="0" bIns="0" rtlCol="0">
            <a:spAutoFit/>
          </a:bodyPr>
          <a:lstStyle/>
          <a:p>
            <a:pPr algn="ctr"/>
            <a:r>
              <a:rPr lang="en-US" sz="4400" b="1" dirty="0">
                <a:solidFill>
                  <a:schemeClr val="accent4"/>
                </a:solidFill>
              </a:rPr>
              <a:t>92.1%</a:t>
            </a:r>
          </a:p>
        </p:txBody>
      </p:sp>
      <p:sp>
        <p:nvSpPr>
          <p:cNvPr id="45" name="TextBox 44">
            <a:extLst>
              <a:ext uri="{FF2B5EF4-FFF2-40B4-BE49-F238E27FC236}">
                <a16:creationId xmlns:a16="http://schemas.microsoft.com/office/drawing/2014/main" id="{FDD67C2D-4213-530D-D2DB-F28620D8A6D3}"/>
              </a:ext>
            </a:extLst>
          </p:cNvPr>
          <p:cNvSpPr txBox="1"/>
          <p:nvPr/>
        </p:nvSpPr>
        <p:spPr>
          <a:xfrm>
            <a:off x="5243745" y="920522"/>
            <a:ext cx="1623046" cy="765338"/>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Internet Users as at Percentage of Total Population</a:t>
            </a:r>
          </a:p>
        </p:txBody>
      </p:sp>
      <p:sp>
        <p:nvSpPr>
          <p:cNvPr id="46" name="TextBox 45">
            <a:extLst>
              <a:ext uri="{FF2B5EF4-FFF2-40B4-BE49-F238E27FC236}">
                <a16:creationId xmlns:a16="http://schemas.microsoft.com/office/drawing/2014/main" id="{193761D7-4ED7-04C7-4FDE-D6ACF538F2E4}"/>
              </a:ext>
            </a:extLst>
          </p:cNvPr>
          <p:cNvSpPr txBox="1"/>
          <p:nvPr/>
        </p:nvSpPr>
        <p:spPr>
          <a:xfrm>
            <a:off x="2921856" y="910811"/>
            <a:ext cx="1623046" cy="996170"/>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Year over year change in the number of Internet Users</a:t>
            </a:r>
          </a:p>
        </p:txBody>
      </p:sp>
      <p:sp>
        <p:nvSpPr>
          <p:cNvPr id="47" name="TextBox 46">
            <a:extLst>
              <a:ext uri="{FF2B5EF4-FFF2-40B4-BE49-F238E27FC236}">
                <a16:creationId xmlns:a16="http://schemas.microsoft.com/office/drawing/2014/main" id="{5136AC57-7E35-460E-8AC9-7C1B8B9C6C06}"/>
              </a:ext>
            </a:extLst>
          </p:cNvPr>
          <p:cNvSpPr txBox="1"/>
          <p:nvPr/>
        </p:nvSpPr>
        <p:spPr>
          <a:xfrm>
            <a:off x="7540746" y="918877"/>
            <a:ext cx="1623046" cy="996170"/>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Average Daily Time Spent Using the Internet by User</a:t>
            </a:r>
          </a:p>
        </p:txBody>
      </p:sp>
      <p:sp>
        <p:nvSpPr>
          <p:cNvPr id="48" name="TextBox 47">
            <a:extLst>
              <a:ext uri="{FF2B5EF4-FFF2-40B4-BE49-F238E27FC236}">
                <a16:creationId xmlns:a16="http://schemas.microsoft.com/office/drawing/2014/main" id="{B864B114-C588-8B05-131A-76837CE50F8F}"/>
              </a:ext>
            </a:extLst>
          </p:cNvPr>
          <p:cNvSpPr txBox="1"/>
          <p:nvPr/>
        </p:nvSpPr>
        <p:spPr>
          <a:xfrm>
            <a:off x="9829440" y="918877"/>
            <a:ext cx="1623046" cy="996170"/>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Percentage Users Accessing the Internet on Mobile Phones</a:t>
            </a:r>
          </a:p>
        </p:txBody>
      </p:sp>
      <p:sp>
        <p:nvSpPr>
          <p:cNvPr id="49" name="Title 1">
            <a:extLst>
              <a:ext uri="{FF2B5EF4-FFF2-40B4-BE49-F238E27FC236}">
                <a16:creationId xmlns:a16="http://schemas.microsoft.com/office/drawing/2014/main" id="{20034B4C-4CF0-D993-14A6-D0980BD397EE}"/>
              </a:ext>
            </a:extLst>
          </p:cNvPr>
          <p:cNvSpPr txBox="1">
            <a:spLocks/>
          </p:cNvSpPr>
          <p:nvPr/>
        </p:nvSpPr>
        <p:spPr>
          <a:xfrm>
            <a:off x="7619" y="6412"/>
            <a:ext cx="8635638"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nternet Usage in 2022</a:t>
            </a:r>
          </a:p>
        </p:txBody>
      </p:sp>
      <p:sp>
        <p:nvSpPr>
          <p:cNvPr id="2" name="TextBox 1">
            <a:extLst>
              <a:ext uri="{FF2B5EF4-FFF2-40B4-BE49-F238E27FC236}">
                <a16:creationId xmlns:a16="http://schemas.microsoft.com/office/drawing/2014/main" id="{5312068F-1627-1082-646A-9FB140634F8F}"/>
              </a:ext>
            </a:extLst>
          </p:cNvPr>
          <p:cNvSpPr txBox="1"/>
          <p:nvPr/>
        </p:nvSpPr>
        <p:spPr>
          <a:xfrm>
            <a:off x="550445" y="5316357"/>
            <a:ext cx="1879600" cy="677108"/>
          </a:xfrm>
          <a:prstGeom prst="rect">
            <a:avLst/>
          </a:prstGeom>
          <a:noFill/>
        </p:spPr>
        <p:txBody>
          <a:bodyPr wrap="square" lIns="0" tIns="0" rIns="0" bIns="0" rtlCol="0">
            <a:spAutoFit/>
          </a:bodyPr>
          <a:lstStyle/>
          <a:p>
            <a:pPr algn="ctr"/>
            <a:r>
              <a:rPr lang="en-US" sz="4400" b="1" dirty="0">
                <a:solidFill>
                  <a:schemeClr val="bg2"/>
                </a:solidFill>
              </a:rPr>
              <a:t>26.7</a:t>
            </a:r>
          </a:p>
        </p:txBody>
      </p:sp>
      <p:sp>
        <p:nvSpPr>
          <p:cNvPr id="3" name="TextBox 2">
            <a:extLst>
              <a:ext uri="{FF2B5EF4-FFF2-40B4-BE49-F238E27FC236}">
                <a16:creationId xmlns:a16="http://schemas.microsoft.com/office/drawing/2014/main" id="{32854858-3AB7-D955-E6D9-FC4B54B25D64}"/>
              </a:ext>
            </a:extLst>
          </p:cNvPr>
          <p:cNvSpPr txBox="1"/>
          <p:nvPr/>
        </p:nvSpPr>
        <p:spPr>
          <a:xfrm>
            <a:off x="852890" y="5855504"/>
            <a:ext cx="1331514" cy="461665"/>
          </a:xfrm>
          <a:prstGeom prst="rect">
            <a:avLst/>
          </a:prstGeom>
          <a:noFill/>
        </p:spPr>
        <p:txBody>
          <a:bodyPr wrap="square">
            <a:spAutoFit/>
          </a:bodyPr>
          <a:lstStyle/>
          <a:p>
            <a:pPr algn="ctr"/>
            <a:r>
              <a:rPr lang="en-US" sz="2400" b="1" dirty="0">
                <a:solidFill>
                  <a:schemeClr val="bg2"/>
                </a:solidFill>
              </a:rPr>
              <a:t>Million</a:t>
            </a:r>
            <a:endParaRPr lang="en-US" sz="2400" dirty="0">
              <a:solidFill>
                <a:schemeClr val="bg2"/>
              </a:solidFill>
            </a:endParaRPr>
          </a:p>
        </p:txBody>
      </p:sp>
      <p:sp>
        <p:nvSpPr>
          <p:cNvPr id="5" name="TextBox 4">
            <a:extLst>
              <a:ext uri="{FF2B5EF4-FFF2-40B4-BE49-F238E27FC236}">
                <a16:creationId xmlns:a16="http://schemas.microsoft.com/office/drawing/2014/main" id="{B5484954-E275-3332-8F33-6A09D1998C45}"/>
              </a:ext>
            </a:extLst>
          </p:cNvPr>
          <p:cNvSpPr txBox="1"/>
          <p:nvPr/>
        </p:nvSpPr>
        <p:spPr>
          <a:xfrm>
            <a:off x="622212" y="6167053"/>
            <a:ext cx="1805816" cy="461665"/>
          </a:xfrm>
          <a:prstGeom prst="rect">
            <a:avLst/>
          </a:prstGeom>
          <a:noFill/>
        </p:spPr>
        <p:txBody>
          <a:bodyPr wrap="square">
            <a:spAutoFit/>
          </a:bodyPr>
          <a:lstStyle/>
          <a:p>
            <a:pPr algn="ctr"/>
            <a:r>
              <a:rPr lang="en-US" sz="2400" b="1" dirty="0">
                <a:solidFill>
                  <a:schemeClr val="bg2"/>
                </a:solidFill>
              </a:rPr>
              <a:t>Caribbean</a:t>
            </a:r>
            <a:endParaRPr lang="en-US" sz="2400" dirty="0">
              <a:solidFill>
                <a:schemeClr val="bg2"/>
              </a:solidFill>
            </a:endParaRPr>
          </a:p>
        </p:txBody>
      </p:sp>
      <p:sp>
        <p:nvSpPr>
          <p:cNvPr id="6" name="TextBox 5">
            <a:extLst>
              <a:ext uri="{FF2B5EF4-FFF2-40B4-BE49-F238E27FC236}">
                <a16:creationId xmlns:a16="http://schemas.microsoft.com/office/drawing/2014/main" id="{FBDC5496-2B55-52FD-1270-67F4BDCF524A}"/>
              </a:ext>
            </a:extLst>
          </p:cNvPr>
          <p:cNvSpPr txBox="1"/>
          <p:nvPr/>
        </p:nvSpPr>
        <p:spPr>
          <a:xfrm>
            <a:off x="5156200" y="5154487"/>
            <a:ext cx="1879600" cy="677108"/>
          </a:xfrm>
          <a:prstGeom prst="rect">
            <a:avLst/>
          </a:prstGeom>
          <a:noFill/>
        </p:spPr>
        <p:txBody>
          <a:bodyPr wrap="square" lIns="0" tIns="0" rIns="0" bIns="0" rtlCol="0">
            <a:spAutoFit/>
          </a:bodyPr>
          <a:lstStyle/>
          <a:p>
            <a:pPr algn="ctr"/>
            <a:r>
              <a:rPr lang="en-US" sz="4400" b="1" dirty="0">
                <a:solidFill>
                  <a:schemeClr val="accent3"/>
                </a:solidFill>
              </a:rPr>
              <a:t>60.9%</a:t>
            </a:r>
          </a:p>
        </p:txBody>
      </p:sp>
      <p:sp>
        <p:nvSpPr>
          <p:cNvPr id="7" name="TextBox 6">
            <a:extLst>
              <a:ext uri="{FF2B5EF4-FFF2-40B4-BE49-F238E27FC236}">
                <a16:creationId xmlns:a16="http://schemas.microsoft.com/office/drawing/2014/main" id="{1FE13BD6-7E17-39FE-8B83-B8CBADC52B83}"/>
              </a:ext>
            </a:extLst>
          </p:cNvPr>
          <p:cNvSpPr txBox="1"/>
          <p:nvPr/>
        </p:nvSpPr>
        <p:spPr>
          <a:xfrm>
            <a:off x="5170273" y="5708484"/>
            <a:ext cx="1805816" cy="461665"/>
          </a:xfrm>
          <a:prstGeom prst="rect">
            <a:avLst/>
          </a:prstGeom>
          <a:noFill/>
        </p:spPr>
        <p:txBody>
          <a:bodyPr wrap="square">
            <a:spAutoFit/>
          </a:bodyPr>
          <a:lstStyle/>
          <a:p>
            <a:pPr algn="ctr"/>
            <a:r>
              <a:rPr lang="en-US" sz="2400" b="1" dirty="0">
                <a:solidFill>
                  <a:schemeClr val="accent3"/>
                </a:solidFill>
              </a:rPr>
              <a:t>Caribbean</a:t>
            </a:r>
            <a:endParaRPr lang="en-US" sz="2400" dirty="0">
              <a:solidFill>
                <a:schemeClr val="accent3"/>
              </a:solidFill>
            </a:endParaRPr>
          </a:p>
        </p:txBody>
      </p:sp>
      <p:sp>
        <p:nvSpPr>
          <p:cNvPr id="8" name="Down Arrow 7">
            <a:extLst>
              <a:ext uri="{FF2B5EF4-FFF2-40B4-BE49-F238E27FC236}">
                <a16:creationId xmlns:a16="http://schemas.microsoft.com/office/drawing/2014/main" id="{57CA112E-8171-6D51-25C7-59220CBE5EFA}"/>
              </a:ext>
            </a:extLst>
          </p:cNvPr>
          <p:cNvSpPr/>
          <p:nvPr/>
        </p:nvSpPr>
        <p:spPr>
          <a:xfrm>
            <a:off x="1178191" y="5126329"/>
            <a:ext cx="599440" cy="243601"/>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a:extLst>
              <a:ext uri="{FF2B5EF4-FFF2-40B4-BE49-F238E27FC236}">
                <a16:creationId xmlns:a16="http://schemas.microsoft.com/office/drawing/2014/main" id="{E1A80D09-2D06-D67B-B5E6-C0A4E5FD36B4}"/>
              </a:ext>
            </a:extLst>
          </p:cNvPr>
          <p:cNvSpPr/>
          <p:nvPr/>
        </p:nvSpPr>
        <p:spPr>
          <a:xfrm>
            <a:off x="5720863" y="4868547"/>
            <a:ext cx="599440" cy="243601"/>
          </a:xfrm>
          <a:prstGeom prst="down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11">
            <a:extLst>
              <a:ext uri="{FF2B5EF4-FFF2-40B4-BE49-F238E27FC236}">
                <a16:creationId xmlns:a16="http://schemas.microsoft.com/office/drawing/2014/main" id="{F0AAB1D8-C2B5-8F57-90D5-F5F3B5A5CEC2}"/>
              </a:ext>
            </a:extLst>
          </p:cNvPr>
          <p:cNvSpPr>
            <a:spLocks noGrp="1"/>
          </p:cNvSpPr>
          <p:nvPr>
            <p:ph type="ftr" sz="quarter" idx="3"/>
          </p:nvPr>
        </p:nvSpPr>
        <p:spPr/>
        <p:txBody>
          <a:bodyPr/>
          <a:lstStyle/>
          <a:p>
            <a:r>
              <a:rPr lang="en-US" dirty="0"/>
              <a:t>LIBERTY LATIN AMERICA | CANTO 2022 | JULY 18</a:t>
            </a:r>
          </a:p>
        </p:txBody>
      </p:sp>
      <p:sp>
        <p:nvSpPr>
          <p:cNvPr id="13" name="Slide Number Placeholder 12">
            <a:extLst>
              <a:ext uri="{FF2B5EF4-FFF2-40B4-BE49-F238E27FC236}">
                <a16:creationId xmlns:a16="http://schemas.microsoft.com/office/drawing/2014/main" id="{2EDAB166-20E1-0D65-422C-C2D83EA2B941}"/>
              </a:ext>
            </a:extLst>
          </p:cNvPr>
          <p:cNvSpPr>
            <a:spLocks noGrp="1"/>
          </p:cNvSpPr>
          <p:nvPr>
            <p:ph type="sldNum" sz="quarter" idx="4"/>
          </p:nvPr>
        </p:nvSpPr>
        <p:spPr/>
        <p:txBody>
          <a:bodyPr/>
          <a:lstStyle/>
          <a:p>
            <a:fld id="{496097A3-845D-4C79-9B10-713A18711759}" type="slidenum">
              <a:rPr lang="en-US" smtClean="0"/>
              <a:pPr/>
              <a:t>11</a:t>
            </a:fld>
            <a:endParaRPr lang="en-US"/>
          </a:p>
        </p:txBody>
      </p:sp>
      <p:sp>
        <p:nvSpPr>
          <p:cNvPr id="41" name="TextBox 40">
            <a:extLst>
              <a:ext uri="{FF2B5EF4-FFF2-40B4-BE49-F238E27FC236}">
                <a16:creationId xmlns:a16="http://schemas.microsoft.com/office/drawing/2014/main" id="{CFF33BDB-7F81-BD20-1E55-2E2A04AE39CA}"/>
              </a:ext>
            </a:extLst>
          </p:cNvPr>
          <p:cNvSpPr txBox="1"/>
          <p:nvPr/>
        </p:nvSpPr>
        <p:spPr>
          <a:xfrm>
            <a:off x="4038097" y="6563039"/>
            <a:ext cx="7778633" cy="261610"/>
          </a:xfrm>
          <a:prstGeom prst="rect">
            <a:avLst/>
          </a:prstGeom>
          <a:noFill/>
        </p:spPr>
        <p:txBody>
          <a:bodyPr wrap="square">
            <a:spAutoFit/>
          </a:bodyPr>
          <a:lstStyle/>
          <a:p>
            <a:r>
              <a:rPr lang="en-US" sz="1100" dirty="0"/>
              <a:t>SOURCE: Digital 2022 Global Overview Report - https://datareportal.com/reports/digital-2022-global-overview-report</a:t>
            </a:r>
          </a:p>
        </p:txBody>
      </p:sp>
    </p:spTree>
    <p:extLst>
      <p:ext uri="{BB962C8B-B14F-4D97-AF65-F5344CB8AC3E}">
        <p14:creationId xmlns:p14="http://schemas.microsoft.com/office/powerpoint/2010/main" val="89906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47427D-1223-9345-90C9-6592F11A6979}"/>
              </a:ext>
            </a:extLst>
          </p:cNvPr>
          <p:cNvGraphicFramePr>
            <a:graphicFrameLocks noChangeAspect="1"/>
          </p:cNvGraphicFramePr>
          <p:nvPr>
            <p:custDataLst>
              <p:tags r:id="rId1"/>
            </p:custDataLst>
            <p:extLst>
              <p:ext uri="{D42A27DB-BD31-4B8C-83A1-F6EECF244321}">
                <p14:modId xmlns:p14="http://schemas.microsoft.com/office/powerpoint/2010/main" val="4111069296"/>
              </p:ext>
            </p:ext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B147427D-1223-9345-90C9-6592F11A6979}"/>
                          </a:ext>
                        </a:extLst>
                      </p:cNvPr>
                      <p:cNvPicPr/>
                      <p:nvPr/>
                    </p:nvPicPr>
                    <p:blipFill>
                      <a:blip r:embed="rId4"/>
                      <a:stretch>
                        <a:fillRect/>
                      </a:stretch>
                    </p:blipFill>
                    <p:spPr>
                      <a:xfrm>
                        <a:off x="1525589" y="1588"/>
                        <a:ext cx="1227" cy="1588"/>
                      </a:xfrm>
                      <a:prstGeom prst="rect">
                        <a:avLst/>
                      </a:prstGeom>
                    </p:spPr>
                  </p:pic>
                </p:oleObj>
              </mc:Fallback>
            </mc:AlternateContent>
          </a:graphicData>
        </a:graphic>
      </p:graphicFrame>
      <p:pic>
        <p:nvPicPr>
          <p:cNvPr id="94" name="Picture 2">
            <a:extLst>
              <a:ext uri="{FF2B5EF4-FFF2-40B4-BE49-F238E27FC236}">
                <a16:creationId xmlns:a16="http://schemas.microsoft.com/office/drawing/2014/main" id="{77D43727-6842-5BD0-29B8-43EAFA9A7F30}"/>
              </a:ext>
              <a:ext uri="{C183D7F6-B498-43B3-948B-1728B52AA6E4}">
                <adec:decorative xmlns:adec="http://schemas.microsoft.com/office/drawing/2017/decorative" val="0"/>
              </a:ext>
            </a:extLst>
          </p:cNvPr>
          <p:cNvPicPr>
            <a:picLocks noChangeAspect="1" noChangeArrowheads="1"/>
          </p:cNvPicPr>
          <p:nvPr/>
        </p:nvPicPr>
        <p:blipFill>
          <a:blip r:embed="rId5">
            <a:alphaModFix amt="26000"/>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86">
            <a:extLst>
              <a:ext uri="{FF2B5EF4-FFF2-40B4-BE49-F238E27FC236}">
                <a16:creationId xmlns:a16="http://schemas.microsoft.com/office/drawing/2014/main" id="{6D51015E-8647-CF4A-B0F7-1266C70CB4FE}"/>
              </a:ext>
            </a:extLst>
          </p:cNvPr>
          <p:cNvSpPr>
            <a:spLocks noChangeAspect="1" noChangeArrowheads="1"/>
          </p:cNvSpPr>
          <p:nvPr/>
        </p:nvSpPr>
        <p:spPr bwMode="auto">
          <a:xfrm>
            <a:off x="1273983" y="622708"/>
            <a:ext cx="887933" cy="887990"/>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15" name="Pie 14">
            <a:extLst>
              <a:ext uri="{FF2B5EF4-FFF2-40B4-BE49-F238E27FC236}">
                <a16:creationId xmlns:a16="http://schemas.microsoft.com/office/drawing/2014/main" id="{8BB11FB6-81F0-9B40-9051-F9573C6DC741}"/>
              </a:ext>
            </a:extLst>
          </p:cNvPr>
          <p:cNvSpPr>
            <a:spLocks/>
          </p:cNvSpPr>
          <p:nvPr/>
        </p:nvSpPr>
        <p:spPr>
          <a:xfrm>
            <a:off x="1272800" y="622651"/>
            <a:ext cx="889115" cy="887990"/>
          </a:xfrm>
          <a:prstGeom prst="pie">
            <a:avLst>
              <a:gd name="adj1" fmla="val 16193829"/>
              <a:gd name="adj2" fmla="val 7188436"/>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17" name="Freeform 86">
            <a:extLst>
              <a:ext uri="{FF2B5EF4-FFF2-40B4-BE49-F238E27FC236}">
                <a16:creationId xmlns:a16="http://schemas.microsoft.com/office/drawing/2014/main" id="{28632364-ECFC-2148-8280-8FD15F31D4F6}"/>
              </a:ext>
            </a:extLst>
          </p:cNvPr>
          <p:cNvSpPr>
            <a:spLocks noChangeAspect="1" noChangeArrowheads="1"/>
          </p:cNvSpPr>
          <p:nvPr/>
        </p:nvSpPr>
        <p:spPr bwMode="auto">
          <a:xfrm>
            <a:off x="7932004" y="2193661"/>
            <a:ext cx="662968" cy="663011"/>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18" name="Pie 17">
            <a:extLst>
              <a:ext uri="{FF2B5EF4-FFF2-40B4-BE49-F238E27FC236}">
                <a16:creationId xmlns:a16="http://schemas.microsoft.com/office/drawing/2014/main" id="{9E38927F-E9B7-9845-9938-D6FBAE70C4D7}"/>
              </a:ext>
            </a:extLst>
          </p:cNvPr>
          <p:cNvSpPr>
            <a:spLocks/>
          </p:cNvSpPr>
          <p:nvPr/>
        </p:nvSpPr>
        <p:spPr>
          <a:xfrm>
            <a:off x="7931122" y="2193618"/>
            <a:ext cx="663851" cy="663011"/>
          </a:xfrm>
          <a:prstGeom prst="pie">
            <a:avLst>
              <a:gd name="adj1" fmla="val 16193829"/>
              <a:gd name="adj2" fmla="val 13575197"/>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3037D41C-A3F0-0C45-9B3C-F362DCC136FE}"/>
              </a:ext>
            </a:extLst>
          </p:cNvPr>
          <p:cNvSpPr>
            <a:spLocks noChangeAspect="1" noChangeArrowheads="1"/>
          </p:cNvSpPr>
          <p:nvPr/>
        </p:nvSpPr>
        <p:spPr bwMode="auto">
          <a:xfrm>
            <a:off x="8172098" y="5532058"/>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21" name="Pie 20">
            <a:extLst>
              <a:ext uri="{FF2B5EF4-FFF2-40B4-BE49-F238E27FC236}">
                <a16:creationId xmlns:a16="http://schemas.microsoft.com/office/drawing/2014/main" id="{B68328CD-06A8-A546-BCB0-8D6FB131D1DC}"/>
              </a:ext>
            </a:extLst>
          </p:cNvPr>
          <p:cNvSpPr>
            <a:spLocks/>
          </p:cNvSpPr>
          <p:nvPr/>
        </p:nvSpPr>
        <p:spPr>
          <a:xfrm>
            <a:off x="8171475" y="5532028"/>
            <a:ext cx="467904" cy="467312"/>
          </a:xfrm>
          <a:prstGeom prst="pie">
            <a:avLst>
              <a:gd name="adj1" fmla="val 16193829"/>
              <a:gd name="adj2" fmla="val 13569376"/>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38" name="TextBox 37">
            <a:extLst>
              <a:ext uri="{FF2B5EF4-FFF2-40B4-BE49-F238E27FC236}">
                <a16:creationId xmlns:a16="http://schemas.microsoft.com/office/drawing/2014/main" id="{B1609105-601D-EE4A-B0A5-E4029DC60F67}"/>
              </a:ext>
            </a:extLst>
          </p:cNvPr>
          <p:cNvSpPr txBox="1"/>
          <p:nvPr/>
        </p:nvSpPr>
        <p:spPr>
          <a:xfrm>
            <a:off x="958739" y="154021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Jamaica - 61%</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2.8M population</a:t>
            </a:r>
          </a:p>
        </p:txBody>
      </p:sp>
      <p:sp>
        <p:nvSpPr>
          <p:cNvPr id="39" name="TextBox 38">
            <a:extLst>
              <a:ext uri="{FF2B5EF4-FFF2-40B4-BE49-F238E27FC236}">
                <a16:creationId xmlns:a16="http://schemas.microsoft.com/office/drawing/2014/main" id="{C5DF93B0-A6CF-4C4D-B308-93829705E985}"/>
              </a:ext>
            </a:extLst>
          </p:cNvPr>
          <p:cNvSpPr txBox="1"/>
          <p:nvPr/>
        </p:nvSpPr>
        <p:spPr>
          <a:xfrm>
            <a:off x="7474320" y="2846868"/>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Barbados - 87%</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287.7k population</a:t>
            </a:r>
          </a:p>
        </p:txBody>
      </p:sp>
      <p:sp>
        <p:nvSpPr>
          <p:cNvPr id="40" name="Freeform 86">
            <a:extLst>
              <a:ext uri="{FF2B5EF4-FFF2-40B4-BE49-F238E27FC236}">
                <a16:creationId xmlns:a16="http://schemas.microsoft.com/office/drawing/2014/main" id="{44D67779-C4B6-D34D-93D1-FCD5BF7EE4F7}"/>
              </a:ext>
            </a:extLst>
          </p:cNvPr>
          <p:cNvSpPr>
            <a:spLocks noChangeAspect="1" noChangeArrowheads="1"/>
          </p:cNvSpPr>
          <p:nvPr/>
        </p:nvSpPr>
        <p:spPr bwMode="auto">
          <a:xfrm>
            <a:off x="9777793" y="3744931"/>
            <a:ext cx="467282" cy="467312"/>
          </a:xfrm>
          <a:prstGeom prst="ellipse">
            <a:avLst/>
          </a:prstGeom>
          <a:solidFill>
            <a:schemeClr val="bg2"/>
          </a:solidFill>
          <a:ln w="57150">
            <a:noFill/>
          </a:ln>
          <a:effectLst/>
        </p:spPr>
        <p:txBody>
          <a:bodyPr wrap="none" anchor="ctr"/>
          <a:lstStyle/>
          <a:p>
            <a:endParaRPr lang="en-US" sz="7464" b="1" dirty="0">
              <a:latin typeface="Roboto Bold" charset="0"/>
            </a:endParaRPr>
          </a:p>
        </p:txBody>
      </p:sp>
      <p:sp>
        <p:nvSpPr>
          <p:cNvPr id="42" name="Freeform 86">
            <a:extLst>
              <a:ext uri="{FF2B5EF4-FFF2-40B4-BE49-F238E27FC236}">
                <a16:creationId xmlns:a16="http://schemas.microsoft.com/office/drawing/2014/main" id="{A81EA3ED-F1C5-5348-849A-235D75D041CC}"/>
              </a:ext>
            </a:extLst>
          </p:cNvPr>
          <p:cNvSpPr>
            <a:spLocks noChangeAspect="1" noChangeArrowheads="1"/>
          </p:cNvSpPr>
          <p:nvPr/>
        </p:nvSpPr>
        <p:spPr bwMode="auto">
          <a:xfrm>
            <a:off x="2454998" y="5504459"/>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43" name="Pie 42">
            <a:extLst>
              <a:ext uri="{FF2B5EF4-FFF2-40B4-BE49-F238E27FC236}">
                <a16:creationId xmlns:a16="http://schemas.microsoft.com/office/drawing/2014/main" id="{2BA583B5-E282-0643-BD42-774CD9292876}"/>
              </a:ext>
            </a:extLst>
          </p:cNvPr>
          <p:cNvSpPr>
            <a:spLocks/>
          </p:cNvSpPr>
          <p:nvPr/>
        </p:nvSpPr>
        <p:spPr>
          <a:xfrm>
            <a:off x="2454375" y="5504429"/>
            <a:ext cx="467904" cy="467312"/>
          </a:xfrm>
          <a:prstGeom prst="pie">
            <a:avLst>
              <a:gd name="adj1" fmla="val 16193829"/>
              <a:gd name="adj2" fmla="val 7487933"/>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44" name="Freeform 86">
            <a:extLst>
              <a:ext uri="{FF2B5EF4-FFF2-40B4-BE49-F238E27FC236}">
                <a16:creationId xmlns:a16="http://schemas.microsoft.com/office/drawing/2014/main" id="{2055C0FA-64A2-A545-9CAD-7B3EC003ABBF}"/>
              </a:ext>
            </a:extLst>
          </p:cNvPr>
          <p:cNvSpPr>
            <a:spLocks noChangeAspect="1" noChangeArrowheads="1"/>
          </p:cNvSpPr>
          <p:nvPr/>
        </p:nvSpPr>
        <p:spPr bwMode="auto">
          <a:xfrm>
            <a:off x="7108663" y="3853310"/>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45" name="Pie 44">
            <a:extLst>
              <a:ext uri="{FF2B5EF4-FFF2-40B4-BE49-F238E27FC236}">
                <a16:creationId xmlns:a16="http://schemas.microsoft.com/office/drawing/2014/main" id="{E7FAC2D5-4C73-DB4D-A232-9CCF7443C168}"/>
              </a:ext>
            </a:extLst>
          </p:cNvPr>
          <p:cNvSpPr>
            <a:spLocks/>
          </p:cNvSpPr>
          <p:nvPr/>
        </p:nvSpPr>
        <p:spPr>
          <a:xfrm>
            <a:off x="7108040" y="3853280"/>
            <a:ext cx="467904" cy="467312"/>
          </a:xfrm>
          <a:prstGeom prst="pie">
            <a:avLst>
              <a:gd name="adj1" fmla="val 16193829"/>
              <a:gd name="adj2" fmla="val 12567563"/>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46" name="Freeform 86">
            <a:extLst>
              <a:ext uri="{FF2B5EF4-FFF2-40B4-BE49-F238E27FC236}">
                <a16:creationId xmlns:a16="http://schemas.microsoft.com/office/drawing/2014/main" id="{4CF8270E-2B7E-644E-B2AF-3A14F3AE5605}"/>
              </a:ext>
            </a:extLst>
          </p:cNvPr>
          <p:cNvSpPr>
            <a:spLocks noChangeAspect="1" noChangeArrowheads="1"/>
          </p:cNvSpPr>
          <p:nvPr/>
        </p:nvSpPr>
        <p:spPr bwMode="auto">
          <a:xfrm>
            <a:off x="5579727" y="3691033"/>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47" name="Pie 46">
            <a:extLst>
              <a:ext uri="{FF2B5EF4-FFF2-40B4-BE49-F238E27FC236}">
                <a16:creationId xmlns:a16="http://schemas.microsoft.com/office/drawing/2014/main" id="{58628F83-8946-5B43-A852-7A787AE3C6E0}"/>
              </a:ext>
            </a:extLst>
          </p:cNvPr>
          <p:cNvSpPr>
            <a:spLocks/>
          </p:cNvSpPr>
          <p:nvPr/>
        </p:nvSpPr>
        <p:spPr>
          <a:xfrm>
            <a:off x="5579104" y="3691003"/>
            <a:ext cx="467904" cy="467312"/>
          </a:xfrm>
          <a:prstGeom prst="pie">
            <a:avLst>
              <a:gd name="adj1" fmla="val 16193829"/>
              <a:gd name="adj2" fmla="val 12567868"/>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48" name="Freeform 86">
            <a:extLst>
              <a:ext uri="{FF2B5EF4-FFF2-40B4-BE49-F238E27FC236}">
                <a16:creationId xmlns:a16="http://schemas.microsoft.com/office/drawing/2014/main" id="{A6700E31-6630-8646-A26D-CD9129EE6308}"/>
              </a:ext>
            </a:extLst>
          </p:cNvPr>
          <p:cNvSpPr>
            <a:spLocks noChangeAspect="1" noChangeArrowheads="1"/>
          </p:cNvSpPr>
          <p:nvPr/>
        </p:nvSpPr>
        <p:spPr bwMode="auto">
          <a:xfrm>
            <a:off x="4591412" y="2730417"/>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49" name="Pie 48">
            <a:extLst>
              <a:ext uri="{FF2B5EF4-FFF2-40B4-BE49-F238E27FC236}">
                <a16:creationId xmlns:a16="http://schemas.microsoft.com/office/drawing/2014/main" id="{B0E03A4C-59E0-7B48-9A4C-0911169CEECA}"/>
              </a:ext>
            </a:extLst>
          </p:cNvPr>
          <p:cNvSpPr>
            <a:spLocks/>
          </p:cNvSpPr>
          <p:nvPr/>
        </p:nvSpPr>
        <p:spPr>
          <a:xfrm>
            <a:off x="4590789" y="2730387"/>
            <a:ext cx="467904" cy="467312"/>
          </a:xfrm>
          <a:prstGeom prst="pie">
            <a:avLst>
              <a:gd name="adj1" fmla="val 16193829"/>
              <a:gd name="adj2" fmla="val 11489174"/>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50" name="Freeform 86">
            <a:extLst>
              <a:ext uri="{FF2B5EF4-FFF2-40B4-BE49-F238E27FC236}">
                <a16:creationId xmlns:a16="http://schemas.microsoft.com/office/drawing/2014/main" id="{77082CF0-0E7B-9247-A7E2-DB96709B2047}"/>
              </a:ext>
            </a:extLst>
          </p:cNvPr>
          <p:cNvSpPr>
            <a:spLocks noChangeAspect="1" noChangeArrowheads="1"/>
          </p:cNvSpPr>
          <p:nvPr/>
        </p:nvSpPr>
        <p:spPr bwMode="auto">
          <a:xfrm>
            <a:off x="6416509" y="4968308"/>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51" name="Pie 50">
            <a:extLst>
              <a:ext uri="{FF2B5EF4-FFF2-40B4-BE49-F238E27FC236}">
                <a16:creationId xmlns:a16="http://schemas.microsoft.com/office/drawing/2014/main" id="{8D637559-79F2-384A-9FDA-488E35324E62}"/>
              </a:ext>
            </a:extLst>
          </p:cNvPr>
          <p:cNvSpPr>
            <a:spLocks/>
          </p:cNvSpPr>
          <p:nvPr/>
        </p:nvSpPr>
        <p:spPr>
          <a:xfrm>
            <a:off x="6415886" y="4968278"/>
            <a:ext cx="467904" cy="467312"/>
          </a:xfrm>
          <a:prstGeom prst="pie">
            <a:avLst>
              <a:gd name="adj1" fmla="val 16193829"/>
              <a:gd name="adj2" fmla="val 12675737"/>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54" name="TextBox 53">
            <a:extLst>
              <a:ext uri="{FF2B5EF4-FFF2-40B4-BE49-F238E27FC236}">
                <a16:creationId xmlns:a16="http://schemas.microsoft.com/office/drawing/2014/main" id="{C6B6A97F-E176-D64E-B9A2-235BB5F3DFA6}"/>
              </a:ext>
            </a:extLst>
          </p:cNvPr>
          <p:cNvSpPr txBox="1"/>
          <p:nvPr/>
        </p:nvSpPr>
        <p:spPr>
          <a:xfrm>
            <a:off x="7645254" y="6060549"/>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Anguilla - 9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5.2k population</a:t>
            </a:r>
          </a:p>
        </p:txBody>
      </p:sp>
      <p:sp>
        <p:nvSpPr>
          <p:cNvPr id="55" name="TextBox 54">
            <a:extLst>
              <a:ext uri="{FF2B5EF4-FFF2-40B4-BE49-F238E27FC236}">
                <a16:creationId xmlns:a16="http://schemas.microsoft.com/office/drawing/2014/main" id="{304521A4-6BDF-8B42-A782-891B4540F937}"/>
              </a:ext>
            </a:extLst>
          </p:cNvPr>
          <p:cNvSpPr txBox="1"/>
          <p:nvPr/>
        </p:nvSpPr>
        <p:spPr>
          <a:xfrm>
            <a:off x="9222707" y="4219940"/>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Cayman - 10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67k population</a:t>
            </a:r>
          </a:p>
        </p:txBody>
      </p:sp>
      <p:sp>
        <p:nvSpPr>
          <p:cNvPr id="56" name="TextBox 55">
            <a:extLst>
              <a:ext uri="{FF2B5EF4-FFF2-40B4-BE49-F238E27FC236}">
                <a16:creationId xmlns:a16="http://schemas.microsoft.com/office/drawing/2014/main" id="{07F79EBD-B05F-1443-8084-3E7F2A5E9073}"/>
              </a:ext>
            </a:extLst>
          </p:cNvPr>
          <p:cNvSpPr txBox="1"/>
          <p:nvPr/>
        </p:nvSpPr>
        <p:spPr>
          <a:xfrm>
            <a:off x="5903385" y="5435596"/>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BVI - 8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30.6k population</a:t>
            </a:r>
          </a:p>
        </p:txBody>
      </p:sp>
      <p:sp>
        <p:nvSpPr>
          <p:cNvPr id="57" name="TextBox 56">
            <a:extLst>
              <a:ext uri="{FF2B5EF4-FFF2-40B4-BE49-F238E27FC236}">
                <a16:creationId xmlns:a16="http://schemas.microsoft.com/office/drawing/2014/main" id="{E8353AF1-FD77-6849-9067-E10C35F5BC33}"/>
              </a:ext>
            </a:extLst>
          </p:cNvPr>
          <p:cNvSpPr txBox="1"/>
          <p:nvPr/>
        </p:nvSpPr>
        <p:spPr>
          <a:xfrm>
            <a:off x="4107052" y="3232349"/>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Grenada - 79%</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13.5k population</a:t>
            </a:r>
          </a:p>
        </p:txBody>
      </p:sp>
      <p:sp>
        <p:nvSpPr>
          <p:cNvPr id="58" name="TextBox 57">
            <a:extLst>
              <a:ext uri="{FF2B5EF4-FFF2-40B4-BE49-F238E27FC236}">
                <a16:creationId xmlns:a16="http://schemas.microsoft.com/office/drawing/2014/main" id="{77AA16F9-EFA0-E346-B9B0-B9B721053B39}"/>
              </a:ext>
            </a:extLst>
          </p:cNvPr>
          <p:cNvSpPr txBox="1"/>
          <p:nvPr/>
        </p:nvSpPr>
        <p:spPr>
          <a:xfrm>
            <a:off x="1899600" y="6021667"/>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Montserrat - 68%</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5k population</a:t>
            </a:r>
          </a:p>
        </p:txBody>
      </p:sp>
      <p:sp>
        <p:nvSpPr>
          <p:cNvPr id="59" name="TextBox 58">
            <a:extLst>
              <a:ext uri="{FF2B5EF4-FFF2-40B4-BE49-F238E27FC236}">
                <a16:creationId xmlns:a16="http://schemas.microsoft.com/office/drawing/2014/main" id="{84834435-F935-B741-8348-EACCB61A7EAA}"/>
              </a:ext>
            </a:extLst>
          </p:cNvPr>
          <p:cNvSpPr txBox="1"/>
          <p:nvPr/>
        </p:nvSpPr>
        <p:spPr>
          <a:xfrm>
            <a:off x="6542747" y="435841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St Kitts - 85%</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54k population</a:t>
            </a:r>
          </a:p>
        </p:txBody>
      </p:sp>
      <p:sp>
        <p:nvSpPr>
          <p:cNvPr id="60" name="Freeform 86">
            <a:extLst>
              <a:ext uri="{FF2B5EF4-FFF2-40B4-BE49-F238E27FC236}">
                <a16:creationId xmlns:a16="http://schemas.microsoft.com/office/drawing/2014/main" id="{B68A9BE3-2E9F-6846-BA6F-1703CFA5F244}"/>
              </a:ext>
            </a:extLst>
          </p:cNvPr>
          <p:cNvSpPr>
            <a:spLocks noChangeAspect="1" noChangeArrowheads="1"/>
          </p:cNvSpPr>
          <p:nvPr/>
        </p:nvSpPr>
        <p:spPr bwMode="auto">
          <a:xfrm>
            <a:off x="9310496" y="4781424"/>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61" name="Pie 60">
            <a:extLst>
              <a:ext uri="{FF2B5EF4-FFF2-40B4-BE49-F238E27FC236}">
                <a16:creationId xmlns:a16="http://schemas.microsoft.com/office/drawing/2014/main" id="{C5C400A0-2C89-2F4E-BFBB-1814CB83C4E1}"/>
              </a:ext>
            </a:extLst>
          </p:cNvPr>
          <p:cNvSpPr>
            <a:spLocks/>
          </p:cNvSpPr>
          <p:nvPr/>
        </p:nvSpPr>
        <p:spPr>
          <a:xfrm>
            <a:off x="9309873" y="4781394"/>
            <a:ext cx="467904" cy="467312"/>
          </a:xfrm>
          <a:prstGeom prst="pie">
            <a:avLst>
              <a:gd name="adj1" fmla="val 16193829"/>
              <a:gd name="adj2" fmla="val 14382702"/>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62" name="TextBox 61">
            <a:extLst>
              <a:ext uri="{FF2B5EF4-FFF2-40B4-BE49-F238E27FC236}">
                <a16:creationId xmlns:a16="http://schemas.microsoft.com/office/drawing/2014/main" id="{EA3DA50E-60C5-DC41-BC44-07781FF0DE25}"/>
              </a:ext>
            </a:extLst>
          </p:cNvPr>
          <p:cNvSpPr txBox="1"/>
          <p:nvPr/>
        </p:nvSpPr>
        <p:spPr>
          <a:xfrm>
            <a:off x="8785328" y="5263099"/>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Turks – 94%</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39.8k population</a:t>
            </a:r>
          </a:p>
        </p:txBody>
      </p:sp>
      <p:sp>
        <p:nvSpPr>
          <p:cNvPr id="63" name="TextBox 62">
            <a:extLst>
              <a:ext uri="{FF2B5EF4-FFF2-40B4-BE49-F238E27FC236}">
                <a16:creationId xmlns:a16="http://schemas.microsoft.com/office/drawing/2014/main" id="{026BC782-EAF5-E843-9C1C-642DEEEEB6A2}"/>
              </a:ext>
            </a:extLst>
          </p:cNvPr>
          <p:cNvSpPr txBox="1"/>
          <p:nvPr/>
        </p:nvSpPr>
        <p:spPr>
          <a:xfrm>
            <a:off x="5018468" y="4177325"/>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Antigua - 8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99.5k population</a:t>
            </a:r>
          </a:p>
        </p:txBody>
      </p:sp>
      <p:sp>
        <p:nvSpPr>
          <p:cNvPr id="64" name="Freeform 86">
            <a:extLst>
              <a:ext uri="{FF2B5EF4-FFF2-40B4-BE49-F238E27FC236}">
                <a16:creationId xmlns:a16="http://schemas.microsoft.com/office/drawing/2014/main" id="{EBC70604-EECD-CA43-893F-044D7D307D7C}"/>
              </a:ext>
            </a:extLst>
          </p:cNvPr>
          <p:cNvSpPr>
            <a:spLocks noChangeAspect="1" noChangeArrowheads="1"/>
          </p:cNvSpPr>
          <p:nvPr/>
        </p:nvSpPr>
        <p:spPr bwMode="auto">
          <a:xfrm>
            <a:off x="7577444" y="1053447"/>
            <a:ext cx="662968" cy="663011"/>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65" name="Pie 64">
            <a:extLst>
              <a:ext uri="{FF2B5EF4-FFF2-40B4-BE49-F238E27FC236}">
                <a16:creationId xmlns:a16="http://schemas.microsoft.com/office/drawing/2014/main" id="{134F9D26-ECA0-CC4E-B169-6E9EF5892A7F}"/>
              </a:ext>
            </a:extLst>
          </p:cNvPr>
          <p:cNvSpPr>
            <a:spLocks/>
          </p:cNvSpPr>
          <p:nvPr/>
        </p:nvSpPr>
        <p:spPr>
          <a:xfrm>
            <a:off x="7576562" y="1053404"/>
            <a:ext cx="663851" cy="663011"/>
          </a:xfrm>
          <a:prstGeom prst="pie">
            <a:avLst>
              <a:gd name="adj1" fmla="val 16193829"/>
              <a:gd name="adj2" fmla="val 13249746"/>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66" name="TextBox 65">
            <a:extLst>
              <a:ext uri="{FF2B5EF4-FFF2-40B4-BE49-F238E27FC236}">
                <a16:creationId xmlns:a16="http://schemas.microsoft.com/office/drawing/2014/main" id="{150F4641-90CE-3846-B916-6B5CB9671E7C}"/>
              </a:ext>
            </a:extLst>
          </p:cNvPr>
          <p:cNvSpPr txBox="1"/>
          <p:nvPr/>
        </p:nvSpPr>
        <p:spPr>
          <a:xfrm>
            <a:off x="7182261" y="1695907"/>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Bahamas - 86%</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416.1k population</a:t>
            </a:r>
          </a:p>
        </p:txBody>
      </p:sp>
      <p:sp>
        <p:nvSpPr>
          <p:cNvPr id="67" name="Freeform 86">
            <a:extLst>
              <a:ext uri="{FF2B5EF4-FFF2-40B4-BE49-F238E27FC236}">
                <a16:creationId xmlns:a16="http://schemas.microsoft.com/office/drawing/2014/main" id="{CF9BA347-7AF4-F240-948F-BD702FE5EB66}"/>
              </a:ext>
            </a:extLst>
          </p:cNvPr>
          <p:cNvSpPr>
            <a:spLocks noChangeAspect="1" noChangeArrowheads="1"/>
          </p:cNvSpPr>
          <p:nvPr/>
        </p:nvSpPr>
        <p:spPr bwMode="auto">
          <a:xfrm>
            <a:off x="2981686" y="3948570"/>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68" name="Pie 67">
            <a:extLst>
              <a:ext uri="{FF2B5EF4-FFF2-40B4-BE49-F238E27FC236}">
                <a16:creationId xmlns:a16="http://schemas.microsoft.com/office/drawing/2014/main" id="{6A8B6540-273F-DD47-B4F4-82F60648B1FA}"/>
              </a:ext>
            </a:extLst>
          </p:cNvPr>
          <p:cNvSpPr>
            <a:spLocks/>
          </p:cNvSpPr>
          <p:nvPr/>
        </p:nvSpPr>
        <p:spPr>
          <a:xfrm>
            <a:off x="2981063" y="3948540"/>
            <a:ext cx="467904" cy="467312"/>
          </a:xfrm>
          <a:prstGeom prst="pie">
            <a:avLst>
              <a:gd name="adj1" fmla="val 16193829"/>
              <a:gd name="adj2" fmla="val 10302157"/>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69" name="TextBox 68">
            <a:extLst>
              <a:ext uri="{FF2B5EF4-FFF2-40B4-BE49-F238E27FC236}">
                <a16:creationId xmlns:a16="http://schemas.microsoft.com/office/drawing/2014/main" id="{905C4976-B599-4C4D-A030-9C50C794761E}"/>
              </a:ext>
            </a:extLst>
          </p:cNvPr>
          <p:cNvSpPr txBox="1"/>
          <p:nvPr/>
        </p:nvSpPr>
        <p:spPr>
          <a:xfrm>
            <a:off x="2426288" y="447302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Dominica – 7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72.3k population</a:t>
            </a:r>
          </a:p>
        </p:txBody>
      </p:sp>
      <p:sp>
        <p:nvSpPr>
          <p:cNvPr id="70" name="Freeform 86">
            <a:extLst>
              <a:ext uri="{FF2B5EF4-FFF2-40B4-BE49-F238E27FC236}">
                <a16:creationId xmlns:a16="http://schemas.microsoft.com/office/drawing/2014/main" id="{18659946-4DCE-CB44-B9C0-8C863744DC27}"/>
              </a:ext>
            </a:extLst>
          </p:cNvPr>
          <p:cNvSpPr>
            <a:spLocks noChangeAspect="1" noChangeArrowheads="1"/>
          </p:cNvSpPr>
          <p:nvPr/>
        </p:nvSpPr>
        <p:spPr bwMode="auto">
          <a:xfrm>
            <a:off x="3179677" y="2803298"/>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71" name="Pie 70">
            <a:extLst>
              <a:ext uri="{FF2B5EF4-FFF2-40B4-BE49-F238E27FC236}">
                <a16:creationId xmlns:a16="http://schemas.microsoft.com/office/drawing/2014/main" id="{35B43808-A0E5-9940-B680-8A8CB7AED526}"/>
              </a:ext>
            </a:extLst>
          </p:cNvPr>
          <p:cNvSpPr>
            <a:spLocks/>
          </p:cNvSpPr>
          <p:nvPr/>
        </p:nvSpPr>
        <p:spPr>
          <a:xfrm>
            <a:off x="3179054" y="2803268"/>
            <a:ext cx="467904" cy="467312"/>
          </a:xfrm>
          <a:prstGeom prst="pie">
            <a:avLst>
              <a:gd name="adj1" fmla="val 16193829"/>
              <a:gd name="adj2" fmla="val 11080366"/>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72" name="TextBox 71">
            <a:extLst>
              <a:ext uri="{FF2B5EF4-FFF2-40B4-BE49-F238E27FC236}">
                <a16:creationId xmlns:a16="http://schemas.microsoft.com/office/drawing/2014/main" id="{0EB7115F-63E8-C44E-BB28-2F3F3122725F}"/>
              </a:ext>
            </a:extLst>
          </p:cNvPr>
          <p:cNvSpPr txBox="1"/>
          <p:nvPr/>
        </p:nvSpPr>
        <p:spPr>
          <a:xfrm>
            <a:off x="2534875" y="329263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St Lucia - 77%</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85k population</a:t>
            </a:r>
          </a:p>
        </p:txBody>
      </p:sp>
      <p:sp>
        <p:nvSpPr>
          <p:cNvPr id="75" name="Freeform 86">
            <a:extLst>
              <a:ext uri="{FF2B5EF4-FFF2-40B4-BE49-F238E27FC236}">
                <a16:creationId xmlns:a16="http://schemas.microsoft.com/office/drawing/2014/main" id="{D639CBDB-5B6B-8649-ADBD-DD137B8803AB}"/>
              </a:ext>
            </a:extLst>
          </p:cNvPr>
          <p:cNvSpPr>
            <a:spLocks noChangeAspect="1" noChangeArrowheads="1"/>
          </p:cNvSpPr>
          <p:nvPr/>
        </p:nvSpPr>
        <p:spPr bwMode="auto">
          <a:xfrm>
            <a:off x="6367159" y="2712098"/>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76" name="Pie 75">
            <a:extLst>
              <a:ext uri="{FF2B5EF4-FFF2-40B4-BE49-F238E27FC236}">
                <a16:creationId xmlns:a16="http://schemas.microsoft.com/office/drawing/2014/main" id="{63C9DE17-A7A3-3643-8FE9-991175EC3399}"/>
              </a:ext>
            </a:extLst>
          </p:cNvPr>
          <p:cNvSpPr>
            <a:spLocks/>
          </p:cNvSpPr>
          <p:nvPr/>
        </p:nvSpPr>
        <p:spPr>
          <a:xfrm>
            <a:off x="6366536" y="2712068"/>
            <a:ext cx="467904" cy="467312"/>
          </a:xfrm>
          <a:prstGeom prst="pie">
            <a:avLst>
              <a:gd name="adj1" fmla="val 16193829"/>
              <a:gd name="adj2" fmla="val 12493488"/>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77" name="TextBox 76">
            <a:extLst>
              <a:ext uri="{FF2B5EF4-FFF2-40B4-BE49-F238E27FC236}">
                <a16:creationId xmlns:a16="http://schemas.microsoft.com/office/drawing/2014/main" id="{1CAA2166-ADB1-8446-933F-1161B929F2AB}"/>
              </a:ext>
            </a:extLst>
          </p:cNvPr>
          <p:cNvSpPr txBox="1"/>
          <p:nvPr/>
        </p:nvSpPr>
        <p:spPr>
          <a:xfrm>
            <a:off x="5832184" y="3209225"/>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St Vincent - 8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09k population</a:t>
            </a:r>
          </a:p>
        </p:txBody>
      </p:sp>
      <p:sp>
        <p:nvSpPr>
          <p:cNvPr id="82" name="Freeform 86">
            <a:extLst>
              <a:ext uri="{FF2B5EF4-FFF2-40B4-BE49-F238E27FC236}">
                <a16:creationId xmlns:a16="http://schemas.microsoft.com/office/drawing/2014/main" id="{95E3244B-6BFA-8D46-B6B0-0C80B3383B9C}"/>
              </a:ext>
            </a:extLst>
          </p:cNvPr>
          <p:cNvSpPr>
            <a:spLocks noChangeAspect="1" noChangeArrowheads="1"/>
          </p:cNvSpPr>
          <p:nvPr/>
        </p:nvSpPr>
        <p:spPr bwMode="auto">
          <a:xfrm>
            <a:off x="9283174" y="2705601"/>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83" name="Pie 82">
            <a:extLst>
              <a:ext uri="{FF2B5EF4-FFF2-40B4-BE49-F238E27FC236}">
                <a16:creationId xmlns:a16="http://schemas.microsoft.com/office/drawing/2014/main" id="{6BE4D0DB-A5DE-2743-9586-62E44BAF633C}"/>
              </a:ext>
            </a:extLst>
          </p:cNvPr>
          <p:cNvSpPr>
            <a:spLocks/>
          </p:cNvSpPr>
          <p:nvPr/>
        </p:nvSpPr>
        <p:spPr>
          <a:xfrm>
            <a:off x="9282551" y="2705571"/>
            <a:ext cx="467904" cy="467312"/>
          </a:xfrm>
          <a:prstGeom prst="pie">
            <a:avLst>
              <a:gd name="adj1" fmla="val 16193829"/>
              <a:gd name="adj2" fmla="val 13319760"/>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84" name="TextBox 83">
            <a:extLst>
              <a:ext uri="{FF2B5EF4-FFF2-40B4-BE49-F238E27FC236}">
                <a16:creationId xmlns:a16="http://schemas.microsoft.com/office/drawing/2014/main" id="{558D38B2-04EF-6A4E-B350-46414973A4DF}"/>
              </a:ext>
            </a:extLst>
          </p:cNvPr>
          <p:cNvSpPr txBox="1"/>
          <p:nvPr/>
        </p:nvSpPr>
        <p:spPr>
          <a:xfrm>
            <a:off x="8755097" y="3209781"/>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Curacao – 9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65.2k population</a:t>
            </a:r>
          </a:p>
        </p:txBody>
      </p:sp>
      <p:sp>
        <p:nvSpPr>
          <p:cNvPr id="87" name="Freeform 86">
            <a:extLst>
              <a:ext uri="{FF2B5EF4-FFF2-40B4-BE49-F238E27FC236}">
                <a16:creationId xmlns:a16="http://schemas.microsoft.com/office/drawing/2014/main" id="{21722414-0EDC-9C49-B2F5-33547C5F7A64}"/>
              </a:ext>
            </a:extLst>
          </p:cNvPr>
          <p:cNvSpPr>
            <a:spLocks noChangeAspect="1" noChangeArrowheads="1"/>
          </p:cNvSpPr>
          <p:nvPr/>
        </p:nvSpPr>
        <p:spPr bwMode="auto">
          <a:xfrm>
            <a:off x="8117810" y="4477925"/>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88" name="Pie 87">
            <a:extLst>
              <a:ext uri="{FF2B5EF4-FFF2-40B4-BE49-F238E27FC236}">
                <a16:creationId xmlns:a16="http://schemas.microsoft.com/office/drawing/2014/main" id="{5D5FA15B-21BF-8F49-9391-A3014B6F2699}"/>
              </a:ext>
            </a:extLst>
          </p:cNvPr>
          <p:cNvSpPr>
            <a:spLocks/>
          </p:cNvSpPr>
          <p:nvPr/>
        </p:nvSpPr>
        <p:spPr>
          <a:xfrm>
            <a:off x="8117187" y="4477895"/>
            <a:ext cx="467904" cy="467312"/>
          </a:xfrm>
          <a:prstGeom prst="pie">
            <a:avLst>
              <a:gd name="adj1" fmla="val 16193829"/>
              <a:gd name="adj2" fmla="val 13741920"/>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89" name="TextBox 88">
            <a:extLst>
              <a:ext uri="{FF2B5EF4-FFF2-40B4-BE49-F238E27FC236}">
                <a16:creationId xmlns:a16="http://schemas.microsoft.com/office/drawing/2014/main" id="{01F1A57F-81E9-0A4B-935D-B287180D4D11}"/>
              </a:ext>
            </a:extLst>
          </p:cNvPr>
          <p:cNvSpPr txBox="1"/>
          <p:nvPr/>
        </p:nvSpPr>
        <p:spPr>
          <a:xfrm>
            <a:off x="7148647" y="4987716"/>
            <a:ext cx="2321915"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Dutch St Maarten – 9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43.7k population</a:t>
            </a:r>
          </a:p>
        </p:txBody>
      </p:sp>
      <p:sp>
        <p:nvSpPr>
          <p:cNvPr id="74" name="Freeform 86">
            <a:extLst>
              <a:ext uri="{FF2B5EF4-FFF2-40B4-BE49-F238E27FC236}">
                <a16:creationId xmlns:a16="http://schemas.microsoft.com/office/drawing/2014/main" id="{243FA93E-70FF-B1A2-393B-4C135AED4C39}"/>
              </a:ext>
            </a:extLst>
          </p:cNvPr>
          <p:cNvSpPr>
            <a:spLocks noChangeAspect="1" noChangeArrowheads="1"/>
          </p:cNvSpPr>
          <p:nvPr/>
        </p:nvSpPr>
        <p:spPr bwMode="auto">
          <a:xfrm>
            <a:off x="9383516" y="533689"/>
            <a:ext cx="887933" cy="887990"/>
          </a:xfrm>
          <a:prstGeom prst="ellipse">
            <a:avLst/>
          </a:prstGeom>
          <a:solidFill>
            <a:schemeClr val="bg2"/>
          </a:solidFill>
          <a:ln w="57150">
            <a:noFill/>
          </a:ln>
          <a:effectLst/>
        </p:spPr>
        <p:txBody>
          <a:bodyPr wrap="none" anchor="ctr"/>
          <a:lstStyle/>
          <a:p>
            <a:endParaRPr lang="en-US" sz="7464" b="1" dirty="0">
              <a:latin typeface="Roboto Bold" charset="0"/>
            </a:endParaRPr>
          </a:p>
        </p:txBody>
      </p:sp>
      <p:sp>
        <p:nvSpPr>
          <p:cNvPr id="80" name="TextBox 79">
            <a:extLst>
              <a:ext uri="{FF2B5EF4-FFF2-40B4-BE49-F238E27FC236}">
                <a16:creationId xmlns:a16="http://schemas.microsoft.com/office/drawing/2014/main" id="{D3832FC5-EE00-AB5A-ADC5-4BD6051FD579}"/>
              </a:ext>
            </a:extLst>
          </p:cNvPr>
          <p:cNvSpPr txBox="1"/>
          <p:nvPr/>
        </p:nvSpPr>
        <p:spPr>
          <a:xfrm>
            <a:off x="8920381" y="1447143"/>
            <a:ext cx="1997636"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Puerto Rico – 10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2.8M population</a:t>
            </a:r>
          </a:p>
        </p:txBody>
      </p:sp>
      <p:sp>
        <p:nvSpPr>
          <p:cNvPr id="81" name="Freeform 86">
            <a:extLst>
              <a:ext uri="{FF2B5EF4-FFF2-40B4-BE49-F238E27FC236}">
                <a16:creationId xmlns:a16="http://schemas.microsoft.com/office/drawing/2014/main" id="{51BF695E-33CD-2F1C-C7BB-6363F0B76850}"/>
              </a:ext>
            </a:extLst>
          </p:cNvPr>
          <p:cNvSpPr>
            <a:spLocks noChangeAspect="1" noChangeArrowheads="1"/>
          </p:cNvSpPr>
          <p:nvPr/>
        </p:nvSpPr>
        <p:spPr bwMode="auto">
          <a:xfrm>
            <a:off x="5393931" y="823942"/>
            <a:ext cx="887933" cy="887990"/>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85" name="Pie 84">
            <a:extLst>
              <a:ext uri="{FF2B5EF4-FFF2-40B4-BE49-F238E27FC236}">
                <a16:creationId xmlns:a16="http://schemas.microsoft.com/office/drawing/2014/main" id="{EC5BBA6E-B60C-8A09-E688-40FF90A20449}"/>
              </a:ext>
            </a:extLst>
          </p:cNvPr>
          <p:cNvSpPr>
            <a:spLocks/>
          </p:cNvSpPr>
          <p:nvPr/>
        </p:nvSpPr>
        <p:spPr>
          <a:xfrm>
            <a:off x="5392748" y="823885"/>
            <a:ext cx="889115" cy="887990"/>
          </a:xfrm>
          <a:prstGeom prst="pie">
            <a:avLst>
              <a:gd name="adj1" fmla="val 16193829"/>
              <a:gd name="adj2" fmla="val 11947210"/>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86" name="TextBox 85">
            <a:extLst>
              <a:ext uri="{FF2B5EF4-FFF2-40B4-BE49-F238E27FC236}">
                <a16:creationId xmlns:a16="http://schemas.microsoft.com/office/drawing/2014/main" id="{B2630C94-58C1-E14E-D4CE-BD9E17E7DDD4}"/>
              </a:ext>
            </a:extLst>
          </p:cNvPr>
          <p:cNvSpPr txBox="1"/>
          <p:nvPr/>
        </p:nvSpPr>
        <p:spPr>
          <a:xfrm>
            <a:off x="5072385" y="1740687"/>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Trinidad - 81%</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4M population</a:t>
            </a:r>
          </a:p>
        </p:txBody>
      </p:sp>
      <p:sp>
        <p:nvSpPr>
          <p:cNvPr id="90" name="Freeform 86">
            <a:extLst>
              <a:ext uri="{FF2B5EF4-FFF2-40B4-BE49-F238E27FC236}">
                <a16:creationId xmlns:a16="http://schemas.microsoft.com/office/drawing/2014/main" id="{36FE8329-7009-5DE9-A856-E95900D18134}"/>
              </a:ext>
            </a:extLst>
          </p:cNvPr>
          <p:cNvSpPr>
            <a:spLocks noChangeAspect="1" noChangeArrowheads="1"/>
          </p:cNvSpPr>
          <p:nvPr/>
        </p:nvSpPr>
        <p:spPr bwMode="auto">
          <a:xfrm>
            <a:off x="1825632" y="2951436"/>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91" name="Pie 90">
            <a:extLst>
              <a:ext uri="{FF2B5EF4-FFF2-40B4-BE49-F238E27FC236}">
                <a16:creationId xmlns:a16="http://schemas.microsoft.com/office/drawing/2014/main" id="{502DAB97-ED0D-293C-91BA-1EB47C3E3C63}"/>
              </a:ext>
            </a:extLst>
          </p:cNvPr>
          <p:cNvSpPr>
            <a:spLocks/>
          </p:cNvSpPr>
          <p:nvPr/>
        </p:nvSpPr>
        <p:spPr>
          <a:xfrm>
            <a:off x="1825009" y="2951406"/>
            <a:ext cx="467904" cy="467312"/>
          </a:xfrm>
          <a:prstGeom prst="pie">
            <a:avLst>
              <a:gd name="adj1" fmla="val 16193829"/>
              <a:gd name="adj2" fmla="val 7530389"/>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92" name="TextBox 91">
            <a:extLst>
              <a:ext uri="{FF2B5EF4-FFF2-40B4-BE49-F238E27FC236}">
                <a16:creationId xmlns:a16="http://schemas.microsoft.com/office/drawing/2014/main" id="{1EBF6281-EC71-BF95-2F42-D98D36C56017}"/>
              </a:ext>
            </a:extLst>
          </p:cNvPr>
          <p:cNvSpPr txBox="1"/>
          <p:nvPr/>
        </p:nvSpPr>
        <p:spPr>
          <a:xfrm>
            <a:off x="1235454" y="345565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USVI – 65%</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04.2k population</a:t>
            </a:r>
          </a:p>
        </p:txBody>
      </p:sp>
      <p:sp>
        <p:nvSpPr>
          <p:cNvPr id="93" name="TextBox 92">
            <a:extLst>
              <a:ext uri="{FF2B5EF4-FFF2-40B4-BE49-F238E27FC236}">
                <a16:creationId xmlns:a16="http://schemas.microsoft.com/office/drawing/2014/main" id="{19A2A478-B6DE-B9D2-DDF3-93B0FA970EF8}"/>
              </a:ext>
            </a:extLst>
          </p:cNvPr>
          <p:cNvSpPr txBox="1"/>
          <p:nvPr/>
        </p:nvSpPr>
        <p:spPr>
          <a:xfrm>
            <a:off x="3921381" y="6333475"/>
            <a:ext cx="3821606" cy="339195"/>
          </a:xfrm>
          <a:prstGeom prst="rect">
            <a:avLst/>
          </a:prstGeom>
          <a:noFill/>
        </p:spPr>
        <p:txBody>
          <a:bodyPr wrap="square">
            <a:spAutoFit/>
          </a:bodyPr>
          <a:lstStyle/>
          <a:p>
            <a:pPr>
              <a:lnSpc>
                <a:spcPts val="1500"/>
              </a:lnSpc>
            </a:pPr>
            <a:r>
              <a:rPr lang="en-US" sz="3200" b="1" dirty="0">
                <a:solidFill>
                  <a:srgbClr val="FF0000"/>
                </a:solidFill>
                <a:latin typeface="Roboto Light" panose="02000000000000000000" pitchFamily="2" charset="0"/>
                <a:ea typeface="Roboto Light" panose="02000000000000000000" pitchFamily="2" charset="0"/>
                <a:cs typeface="Open Sans Light" panose="020B0306030504020204" pitchFamily="34" charset="0"/>
              </a:rPr>
              <a:t>Internet Penetration</a:t>
            </a:r>
          </a:p>
        </p:txBody>
      </p:sp>
      <p:sp>
        <p:nvSpPr>
          <p:cNvPr id="96" name="Title 1">
            <a:extLst>
              <a:ext uri="{FF2B5EF4-FFF2-40B4-BE49-F238E27FC236}">
                <a16:creationId xmlns:a16="http://schemas.microsoft.com/office/drawing/2014/main" id="{EF4ED24F-D33E-680C-05D6-A26BDD87C83C}"/>
              </a:ext>
            </a:extLst>
          </p:cNvPr>
          <p:cNvSpPr txBox="1">
            <a:spLocks/>
          </p:cNvSpPr>
          <p:nvPr/>
        </p:nvSpPr>
        <p:spPr>
          <a:xfrm>
            <a:off x="7619" y="6412"/>
            <a:ext cx="6356111"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Caribbean Internet Penetration</a:t>
            </a:r>
          </a:p>
        </p:txBody>
      </p:sp>
      <p:sp>
        <p:nvSpPr>
          <p:cNvPr id="2" name="TextBox 1">
            <a:extLst>
              <a:ext uri="{FF2B5EF4-FFF2-40B4-BE49-F238E27FC236}">
                <a16:creationId xmlns:a16="http://schemas.microsoft.com/office/drawing/2014/main" id="{923CCBAB-CB19-799D-EDCE-AF8F57BC0FD0}"/>
              </a:ext>
            </a:extLst>
          </p:cNvPr>
          <p:cNvSpPr txBox="1"/>
          <p:nvPr/>
        </p:nvSpPr>
        <p:spPr>
          <a:xfrm rot="16200000">
            <a:off x="-1017527" y="3084846"/>
            <a:ext cx="2901392" cy="352019"/>
          </a:xfrm>
          <a:prstGeom prst="rect">
            <a:avLst/>
          </a:prstGeom>
          <a:noFill/>
        </p:spPr>
        <p:txBody>
          <a:bodyPr wrap="square">
            <a:spAutoFit/>
          </a:bodyPr>
          <a:lstStyle/>
          <a:p>
            <a:pPr algn="ctr">
              <a:lnSpc>
                <a:spcPts val="1500"/>
              </a:lnSpc>
            </a:pPr>
            <a:r>
              <a:rPr lang="en-US" sz="3200" b="1" dirty="0">
                <a:solidFill>
                  <a:srgbClr val="FF0000"/>
                </a:solidFill>
                <a:latin typeface="Roboto Light" panose="02000000000000000000" pitchFamily="2" charset="0"/>
                <a:ea typeface="Roboto Light" panose="02000000000000000000" pitchFamily="2" charset="0"/>
                <a:cs typeface="Open Sans Light" panose="020B0306030504020204" pitchFamily="34" charset="0"/>
              </a:rPr>
              <a:t>Population</a:t>
            </a:r>
            <a:endParaRPr lang="en-US" sz="3600" b="1" dirty="0">
              <a:solidFill>
                <a:srgbClr val="FF0000"/>
              </a:solidFill>
              <a:latin typeface="Roboto Light" panose="02000000000000000000" pitchFamily="2" charset="0"/>
              <a:ea typeface="Roboto Light" panose="02000000000000000000" pitchFamily="2" charset="0"/>
              <a:cs typeface="Open Sans Light" panose="020B0306030504020204" pitchFamily="34" charset="0"/>
            </a:endParaRPr>
          </a:p>
        </p:txBody>
      </p:sp>
      <p:sp>
        <p:nvSpPr>
          <p:cNvPr id="5" name="Footer Placeholder 4">
            <a:extLst>
              <a:ext uri="{FF2B5EF4-FFF2-40B4-BE49-F238E27FC236}">
                <a16:creationId xmlns:a16="http://schemas.microsoft.com/office/drawing/2014/main" id="{66A1F657-FCE2-F41C-2625-8BF4B3858CE1}"/>
              </a:ext>
            </a:extLst>
          </p:cNvPr>
          <p:cNvSpPr>
            <a:spLocks noGrp="1"/>
          </p:cNvSpPr>
          <p:nvPr>
            <p:ph type="ftr" sz="quarter" idx="3"/>
          </p:nvPr>
        </p:nvSpPr>
        <p:spPr/>
        <p:txBody>
          <a:bodyPr/>
          <a:lstStyle/>
          <a:p>
            <a:r>
              <a:rPr lang="en-US" dirty="0"/>
              <a:t>LIBERTY LATIN AMERICA | CANTO 2022 | JULY 18</a:t>
            </a:r>
          </a:p>
        </p:txBody>
      </p:sp>
      <p:sp>
        <p:nvSpPr>
          <p:cNvPr id="6" name="Slide Number Placeholder 5">
            <a:extLst>
              <a:ext uri="{FF2B5EF4-FFF2-40B4-BE49-F238E27FC236}">
                <a16:creationId xmlns:a16="http://schemas.microsoft.com/office/drawing/2014/main" id="{6345592F-EC2D-EC85-10ED-69B7C72CFCF1}"/>
              </a:ext>
            </a:extLst>
          </p:cNvPr>
          <p:cNvSpPr>
            <a:spLocks noGrp="1"/>
          </p:cNvSpPr>
          <p:nvPr>
            <p:ph type="sldNum" sz="quarter" idx="4"/>
          </p:nvPr>
        </p:nvSpPr>
        <p:spPr/>
        <p:txBody>
          <a:bodyPr/>
          <a:lstStyle/>
          <a:p>
            <a:fld id="{496097A3-845D-4C79-9B10-713A18711759}" type="slidenum">
              <a:rPr lang="en-US" smtClean="0"/>
              <a:pPr/>
              <a:t>12</a:t>
            </a:fld>
            <a:endParaRPr lang="en-US"/>
          </a:p>
        </p:txBody>
      </p:sp>
      <p:sp>
        <p:nvSpPr>
          <p:cNvPr id="73" name="TextBox 72">
            <a:extLst>
              <a:ext uri="{FF2B5EF4-FFF2-40B4-BE49-F238E27FC236}">
                <a16:creationId xmlns:a16="http://schemas.microsoft.com/office/drawing/2014/main" id="{EA34A103-42FD-E0B7-5DC4-B45C20FCD5ED}"/>
              </a:ext>
            </a:extLst>
          </p:cNvPr>
          <p:cNvSpPr txBox="1"/>
          <p:nvPr/>
        </p:nvSpPr>
        <p:spPr>
          <a:xfrm>
            <a:off x="3852283" y="6585119"/>
            <a:ext cx="7778633" cy="261610"/>
          </a:xfrm>
          <a:prstGeom prst="rect">
            <a:avLst/>
          </a:prstGeom>
          <a:noFill/>
        </p:spPr>
        <p:txBody>
          <a:bodyPr wrap="square">
            <a:spAutoFit/>
          </a:bodyPr>
          <a:lstStyle/>
          <a:p>
            <a:r>
              <a:rPr lang="en-US" sz="1100" dirty="0"/>
              <a:t>SOURCE: www.internetworldstats.com/carib.htm</a:t>
            </a:r>
          </a:p>
        </p:txBody>
      </p:sp>
    </p:spTree>
    <p:extLst>
      <p:ext uri="{BB962C8B-B14F-4D97-AF65-F5344CB8AC3E}">
        <p14:creationId xmlns:p14="http://schemas.microsoft.com/office/powerpoint/2010/main" val="3734602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9DA093-BC64-CAD8-2915-599DB72F0F22}"/>
              </a:ext>
            </a:extLst>
          </p:cNvPr>
          <p:cNvGraphicFramePr>
            <a:graphicFrameLocks noChangeAspect="1"/>
          </p:cNvGraphicFramePr>
          <p:nvPr>
            <p:custDataLst>
              <p:tags r:id="rId1"/>
            </p:custDataLst>
            <p:extLst>
              <p:ext uri="{D42A27DB-BD31-4B8C-83A1-F6EECF244321}">
                <p14:modId xmlns:p14="http://schemas.microsoft.com/office/powerpoint/2010/main" val="31180337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DE9DA093-BC64-CAD8-2915-599DB72F0F2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62A0CCA8-D05F-74EA-1652-3C97C69604DD}"/>
              </a:ext>
            </a:extLst>
          </p:cNvPr>
          <p:cNvPicPr>
            <a:picLocks noChangeAspect="1"/>
          </p:cNvPicPr>
          <p:nvPr/>
        </p:nvPicPr>
        <p:blipFill>
          <a:blip r:embed="rId5">
            <a:alphaModFix amt="11000"/>
          </a:blip>
          <a:stretch>
            <a:fillRect/>
          </a:stretch>
        </p:blipFill>
        <p:spPr>
          <a:xfrm>
            <a:off x="-1" y="0"/>
            <a:ext cx="12192001" cy="6858000"/>
          </a:xfrm>
          <a:prstGeom prst="rect">
            <a:avLst/>
          </a:prstGeom>
        </p:spPr>
      </p:pic>
      <p:sp>
        <p:nvSpPr>
          <p:cNvPr id="14" name="Shape 53">
            <a:extLst>
              <a:ext uri="{FF2B5EF4-FFF2-40B4-BE49-F238E27FC236}">
                <a16:creationId xmlns:a16="http://schemas.microsoft.com/office/drawing/2014/main" id="{F1819757-BD36-9C47-9065-991E22DDB693}"/>
              </a:ext>
            </a:extLst>
          </p:cNvPr>
          <p:cNvSpPr/>
          <p:nvPr/>
        </p:nvSpPr>
        <p:spPr>
          <a:xfrm>
            <a:off x="459342" y="2387600"/>
            <a:ext cx="2037141" cy="2045298"/>
          </a:xfrm>
          <a:prstGeom prst="ellipse">
            <a:avLst/>
          </a:prstGeom>
          <a:solidFill>
            <a:schemeClr val="bg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24" name="TextBox 23">
            <a:extLst>
              <a:ext uri="{FF2B5EF4-FFF2-40B4-BE49-F238E27FC236}">
                <a16:creationId xmlns:a16="http://schemas.microsoft.com/office/drawing/2014/main" id="{299544AA-D597-C34F-AD45-354CC551B3BA}"/>
              </a:ext>
            </a:extLst>
          </p:cNvPr>
          <p:cNvSpPr txBox="1"/>
          <p:nvPr/>
        </p:nvSpPr>
        <p:spPr>
          <a:xfrm>
            <a:off x="531970" y="1316725"/>
            <a:ext cx="1741331" cy="765338"/>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Average Speed of Fixed Internet Connections</a:t>
            </a:r>
          </a:p>
        </p:txBody>
      </p:sp>
      <p:sp>
        <p:nvSpPr>
          <p:cNvPr id="28" name="Shape 53">
            <a:extLst>
              <a:ext uri="{FF2B5EF4-FFF2-40B4-BE49-F238E27FC236}">
                <a16:creationId xmlns:a16="http://schemas.microsoft.com/office/drawing/2014/main" id="{C1A29D65-602E-590A-7E27-74FF2390CB5D}"/>
              </a:ext>
            </a:extLst>
          </p:cNvPr>
          <p:cNvSpPr/>
          <p:nvPr/>
        </p:nvSpPr>
        <p:spPr>
          <a:xfrm>
            <a:off x="2953790" y="2387600"/>
            <a:ext cx="2037141" cy="2045298"/>
          </a:xfrm>
          <a:prstGeom prst="ellipse">
            <a:avLst/>
          </a:prstGeom>
          <a:solidFill>
            <a:schemeClr val="accent6">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0" name="Shape 53">
            <a:extLst>
              <a:ext uri="{FF2B5EF4-FFF2-40B4-BE49-F238E27FC236}">
                <a16:creationId xmlns:a16="http://schemas.microsoft.com/office/drawing/2014/main" id="{2AE40188-B917-0790-4531-8858589607EF}"/>
              </a:ext>
            </a:extLst>
          </p:cNvPr>
          <p:cNvSpPr/>
          <p:nvPr/>
        </p:nvSpPr>
        <p:spPr>
          <a:xfrm>
            <a:off x="7194765" y="2385356"/>
            <a:ext cx="2037141" cy="2045298"/>
          </a:xfrm>
          <a:prstGeom prst="ellipse">
            <a:avLst/>
          </a:prstGeom>
          <a:solidFill>
            <a:schemeClr val="bg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1" name="Shape 53">
            <a:extLst>
              <a:ext uri="{FF2B5EF4-FFF2-40B4-BE49-F238E27FC236}">
                <a16:creationId xmlns:a16="http://schemas.microsoft.com/office/drawing/2014/main" id="{D10B8604-E015-D5C9-7901-C24FD7306825}"/>
              </a:ext>
            </a:extLst>
          </p:cNvPr>
          <p:cNvSpPr/>
          <p:nvPr/>
        </p:nvSpPr>
        <p:spPr>
          <a:xfrm>
            <a:off x="9624334" y="2387600"/>
            <a:ext cx="2037141" cy="2045298"/>
          </a:xfrm>
          <a:prstGeom prst="ellipse">
            <a:avLst/>
          </a:prstGeom>
          <a:solidFill>
            <a:schemeClr val="accent4"/>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2" name="Freeform 31">
            <a:extLst>
              <a:ext uri="{FF2B5EF4-FFF2-40B4-BE49-F238E27FC236}">
                <a16:creationId xmlns:a16="http://schemas.microsoft.com/office/drawing/2014/main" id="{0B2EBFE4-65DA-A284-3F77-38B9FCF33E94}"/>
              </a:ext>
            </a:extLst>
          </p:cNvPr>
          <p:cNvSpPr>
            <a:spLocks noChangeArrowheads="1"/>
          </p:cNvSpPr>
          <p:nvPr/>
        </p:nvSpPr>
        <p:spPr bwMode="auto">
          <a:xfrm>
            <a:off x="830366" y="2938479"/>
            <a:ext cx="1295091" cy="943540"/>
          </a:xfrm>
          <a:custGeom>
            <a:avLst/>
            <a:gdLst>
              <a:gd name="connsiteX0" fmla="*/ 40308 w 374291"/>
              <a:gd name="connsiteY0" fmla="*/ 250825 h 272690"/>
              <a:gd name="connsiteX1" fmla="*/ 44105 w 374291"/>
              <a:gd name="connsiteY1" fmla="*/ 254621 h 272690"/>
              <a:gd name="connsiteX2" fmla="*/ 40308 w 374291"/>
              <a:gd name="connsiteY2" fmla="*/ 258417 h 272690"/>
              <a:gd name="connsiteX3" fmla="*/ 36512 w 374291"/>
              <a:gd name="connsiteY3" fmla="*/ 254621 h 272690"/>
              <a:gd name="connsiteX4" fmla="*/ 40308 w 374291"/>
              <a:gd name="connsiteY4" fmla="*/ 250825 h 272690"/>
              <a:gd name="connsiteX5" fmla="*/ 9708 w 374291"/>
              <a:gd name="connsiteY5" fmla="*/ 248161 h 272690"/>
              <a:gd name="connsiteX6" fmla="*/ 9708 w 374291"/>
              <a:gd name="connsiteY6" fmla="*/ 259344 h 272690"/>
              <a:gd name="connsiteX7" fmla="*/ 12944 w 374291"/>
              <a:gd name="connsiteY7" fmla="*/ 262951 h 272690"/>
              <a:gd name="connsiteX8" fmla="*/ 67955 w 374291"/>
              <a:gd name="connsiteY8" fmla="*/ 262951 h 272690"/>
              <a:gd name="connsiteX9" fmla="*/ 71191 w 374291"/>
              <a:gd name="connsiteY9" fmla="*/ 259344 h 272690"/>
              <a:gd name="connsiteX10" fmla="*/ 71191 w 374291"/>
              <a:gd name="connsiteY10" fmla="*/ 248161 h 272690"/>
              <a:gd name="connsiteX11" fmla="*/ 309562 w 374291"/>
              <a:gd name="connsiteY11" fmla="*/ 244475 h 272690"/>
              <a:gd name="connsiteX12" fmla="*/ 315559 w 374291"/>
              <a:gd name="connsiteY12" fmla="*/ 250653 h 272690"/>
              <a:gd name="connsiteX13" fmla="*/ 309562 w 374291"/>
              <a:gd name="connsiteY13" fmla="*/ 256832 h 272690"/>
              <a:gd name="connsiteX14" fmla="*/ 303212 w 374291"/>
              <a:gd name="connsiteY14" fmla="*/ 250653 h 272690"/>
              <a:gd name="connsiteX15" fmla="*/ 309562 w 374291"/>
              <a:gd name="connsiteY15" fmla="*/ 244475 h 272690"/>
              <a:gd name="connsiteX16" fmla="*/ 255639 w 374291"/>
              <a:gd name="connsiteY16" fmla="*/ 240226 h 272690"/>
              <a:gd name="connsiteX17" fmla="*/ 255639 w 374291"/>
              <a:gd name="connsiteY17" fmla="*/ 255015 h 272690"/>
              <a:gd name="connsiteX18" fmla="*/ 263190 w 374291"/>
              <a:gd name="connsiteY18" fmla="*/ 262951 h 272690"/>
              <a:gd name="connsiteX19" fmla="*/ 357032 w 374291"/>
              <a:gd name="connsiteY19" fmla="*/ 262951 h 272690"/>
              <a:gd name="connsiteX20" fmla="*/ 364583 w 374291"/>
              <a:gd name="connsiteY20" fmla="*/ 255015 h 272690"/>
              <a:gd name="connsiteX21" fmla="*/ 364583 w 374291"/>
              <a:gd name="connsiteY21" fmla="*/ 240226 h 272690"/>
              <a:gd name="connsiteX22" fmla="*/ 133393 w 374291"/>
              <a:gd name="connsiteY22" fmla="*/ 195860 h 272690"/>
              <a:gd name="connsiteX23" fmla="*/ 133393 w 374291"/>
              <a:gd name="connsiteY23" fmla="*/ 217863 h 272690"/>
              <a:gd name="connsiteX24" fmla="*/ 117213 w 374291"/>
              <a:gd name="connsiteY24" fmla="*/ 253212 h 272690"/>
              <a:gd name="connsiteX25" fmla="*/ 116494 w 374291"/>
              <a:gd name="connsiteY25" fmla="*/ 256819 h 272690"/>
              <a:gd name="connsiteX26" fmla="*/ 119370 w 374291"/>
              <a:gd name="connsiteY26" fmla="*/ 258622 h 272690"/>
              <a:gd name="connsiteX27" fmla="*/ 209617 w 374291"/>
              <a:gd name="connsiteY27" fmla="*/ 258622 h 272690"/>
              <a:gd name="connsiteX28" fmla="*/ 212493 w 374291"/>
              <a:gd name="connsiteY28" fmla="*/ 256819 h 272690"/>
              <a:gd name="connsiteX29" fmla="*/ 211415 w 374291"/>
              <a:gd name="connsiteY29" fmla="*/ 253212 h 272690"/>
              <a:gd name="connsiteX30" fmla="*/ 195235 w 374291"/>
              <a:gd name="connsiteY30" fmla="*/ 217863 h 272690"/>
              <a:gd name="connsiteX31" fmla="*/ 195235 w 374291"/>
              <a:gd name="connsiteY31" fmla="*/ 195860 h 272690"/>
              <a:gd name="connsiteX32" fmla="*/ 168103 w 374291"/>
              <a:gd name="connsiteY32" fmla="*/ 163512 h 272690"/>
              <a:gd name="connsiteX33" fmla="*/ 174282 w 374291"/>
              <a:gd name="connsiteY33" fmla="*/ 169690 h 272690"/>
              <a:gd name="connsiteX34" fmla="*/ 168103 w 374291"/>
              <a:gd name="connsiteY34" fmla="*/ 175869 h 272690"/>
              <a:gd name="connsiteX35" fmla="*/ 161925 w 374291"/>
              <a:gd name="connsiteY35" fmla="*/ 169690 h 272690"/>
              <a:gd name="connsiteX36" fmla="*/ 168103 w 374291"/>
              <a:gd name="connsiteY36" fmla="*/ 163512 h 272690"/>
              <a:gd name="connsiteX37" fmla="*/ 80899 w 374291"/>
              <a:gd name="connsiteY37" fmla="*/ 155101 h 272690"/>
              <a:gd name="connsiteX38" fmla="*/ 80899 w 374291"/>
              <a:gd name="connsiteY38" fmla="*/ 185760 h 272690"/>
              <a:gd name="connsiteX39" fmla="*/ 123685 w 374291"/>
              <a:gd name="connsiteY39" fmla="*/ 185760 h 272690"/>
              <a:gd name="connsiteX40" fmla="*/ 204943 w 374291"/>
              <a:gd name="connsiteY40" fmla="*/ 185760 h 272690"/>
              <a:gd name="connsiteX41" fmla="*/ 245932 w 374291"/>
              <a:gd name="connsiteY41" fmla="*/ 185760 h 272690"/>
              <a:gd name="connsiteX42" fmla="*/ 245932 w 374291"/>
              <a:gd name="connsiteY42" fmla="*/ 155101 h 272690"/>
              <a:gd name="connsiteX43" fmla="*/ 12944 w 374291"/>
              <a:gd name="connsiteY43" fmla="*/ 134902 h 272690"/>
              <a:gd name="connsiteX44" fmla="*/ 9708 w 374291"/>
              <a:gd name="connsiteY44" fmla="*/ 138509 h 272690"/>
              <a:gd name="connsiteX45" fmla="*/ 9708 w 374291"/>
              <a:gd name="connsiteY45" fmla="*/ 238423 h 272690"/>
              <a:gd name="connsiteX46" fmla="*/ 71191 w 374291"/>
              <a:gd name="connsiteY46" fmla="*/ 238423 h 272690"/>
              <a:gd name="connsiteX47" fmla="*/ 71191 w 374291"/>
              <a:gd name="connsiteY47" fmla="*/ 195860 h 272690"/>
              <a:gd name="connsiteX48" fmla="*/ 71191 w 374291"/>
              <a:gd name="connsiteY48" fmla="*/ 138509 h 272690"/>
              <a:gd name="connsiteX49" fmla="*/ 67955 w 374291"/>
              <a:gd name="connsiteY49" fmla="*/ 134902 h 272690"/>
              <a:gd name="connsiteX50" fmla="*/ 21213 w 374291"/>
              <a:gd name="connsiteY50" fmla="*/ 134902 h 272690"/>
              <a:gd name="connsiteX51" fmla="*/ 263190 w 374291"/>
              <a:gd name="connsiteY51" fmla="*/ 86568 h 272690"/>
              <a:gd name="connsiteX52" fmla="*/ 255639 w 374291"/>
              <a:gd name="connsiteY52" fmla="*/ 94142 h 272690"/>
              <a:gd name="connsiteX53" fmla="*/ 255639 w 374291"/>
              <a:gd name="connsiteY53" fmla="*/ 195860 h 272690"/>
              <a:gd name="connsiteX54" fmla="*/ 255639 w 374291"/>
              <a:gd name="connsiteY54" fmla="*/ 230487 h 272690"/>
              <a:gd name="connsiteX55" fmla="*/ 364583 w 374291"/>
              <a:gd name="connsiteY55" fmla="*/ 230487 h 272690"/>
              <a:gd name="connsiteX56" fmla="*/ 364583 w 374291"/>
              <a:gd name="connsiteY56" fmla="*/ 94142 h 272690"/>
              <a:gd name="connsiteX57" fmla="*/ 357032 w 374291"/>
              <a:gd name="connsiteY57" fmla="*/ 86568 h 272690"/>
              <a:gd name="connsiteX58" fmla="*/ 307414 w 374291"/>
              <a:gd name="connsiteY58" fmla="*/ 86568 h 272690"/>
              <a:gd name="connsiteX59" fmla="*/ 38112 w 374291"/>
              <a:gd name="connsiteY59" fmla="*/ 9739 h 272690"/>
              <a:gd name="connsiteX60" fmla="*/ 30921 w 374291"/>
              <a:gd name="connsiteY60" fmla="*/ 17313 h 272690"/>
              <a:gd name="connsiteX61" fmla="*/ 30921 w 374291"/>
              <a:gd name="connsiteY61" fmla="*/ 125163 h 272690"/>
              <a:gd name="connsiteX62" fmla="*/ 67955 w 374291"/>
              <a:gd name="connsiteY62" fmla="*/ 125163 h 272690"/>
              <a:gd name="connsiteX63" fmla="*/ 80899 w 374291"/>
              <a:gd name="connsiteY63" fmla="*/ 138509 h 272690"/>
              <a:gd name="connsiteX64" fmla="*/ 80899 w 374291"/>
              <a:gd name="connsiteY64" fmla="*/ 145362 h 272690"/>
              <a:gd name="connsiteX65" fmla="*/ 245932 w 374291"/>
              <a:gd name="connsiteY65" fmla="*/ 145362 h 272690"/>
              <a:gd name="connsiteX66" fmla="*/ 245932 w 374291"/>
              <a:gd name="connsiteY66" fmla="*/ 94142 h 272690"/>
              <a:gd name="connsiteX67" fmla="*/ 247370 w 374291"/>
              <a:gd name="connsiteY67" fmla="*/ 87289 h 272690"/>
              <a:gd name="connsiteX68" fmla="*/ 263190 w 374291"/>
              <a:gd name="connsiteY68" fmla="*/ 76829 h 272690"/>
              <a:gd name="connsiteX69" fmla="*/ 298066 w 374291"/>
              <a:gd name="connsiteY69" fmla="*/ 76829 h 272690"/>
              <a:gd name="connsiteX70" fmla="*/ 298066 w 374291"/>
              <a:gd name="connsiteY70" fmla="*/ 17313 h 272690"/>
              <a:gd name="connsiteX71" fmla="*/ 290516 w 374291"/>
              <a:gd name="connsiteY71" fmla="*/ 9739 h 272690"/>
              <a:gd name="connsiteX72" fmla="*/ 38112 w 374291"/>
              <a:gd name="connsiteY72" fmla="*/ 0 h 272690"/>
              <a:gd name="connsiteX73" fmla="*/ 290516 w 374291"/>
              <a:gd name="connsiteY73" fmla="*/ 0 h 272690"/>
              <a:gd name="connsiteX74" fmla="*/ 307414 w 374291"/>
              <a:gd name="connsiteY74" fmla="*/ 17313 h 272690"/>
              <a:gd name="connsiteX75" fmla="*/ 307414 w 374291"/>
              <a:gd name="connsiteY75" fmla="*/ 76829 h 272690"/>
              <a:gd name="connsiteX76" fmla="*/ 357032 w 374291"/>
              <a:gd name="connsiteY76" fmla="*/ 76829 h 272690"/>
              <a:gd name="connsiteX77" fmla="*/ 374291 w 374291"/>
              <a:gd name="connsiteY77" fmla="*/ 94142 h 272690"/>
              <a:gd name="connsiteX78" fmla="*/ 374291 w 374291"/>
              <a:gd name="connsiteY78" fmla="*/ 255015 h 272690"/>
              <a:gd name="connsiteX79" fmla="*/ 357032 w 374291"/>
              <a:gd name="connsiteY79" fmla="*/ 272690 h 272690"/>
              <a:gd name="connsiteX80" fmla="*/ 263190 w 374291"/>
              <a:gd name="connsiteY80" fmla="*/ 272690 h 272690"/>
              <a:gd name="connsiteX81" fmla="*/ 245932 w 374291"/>
              <a:gd name="connsiteY81" fmla="*/ 255015 h 272690"/>
              <a:gd name="connsiteX82" fmla="*/ 245932 w 374291"/>
              <a:gd name="connsiteY82" fmla="*/ 195860 h 272690"/>
              <a:gd name="connsiteX83" fmla="*/ 204943 w 374291"/>
              <a:gd name="connsiteY83" fmla="*/ 195860 h 272690"/>
              <a:gd name="connsiteX84" fmla="*/ 204943 w 374291"/>
              <a:gd name="connsiteY84" fmla="*/ 217863 h 272690"/>
              <a:gd name="connsiteX85" fmla="*/ 217527 w 374291"/>
              <a:gd name="connsiteY85" fmla="*/ 245637 h 272690"/>
              <a:gd name="connsiteX86" fmla="*/ 221482 w 374291"/>
              <a:gd name="connsiteY86" fmla="*/ 260065 h 272690"/>
              <a:gd name="connsiteX87" fmla="*/ 209617 w 374291"/>
              <a:gd name="connsiteY87" fmla="*/ 268722 h 272690"/>
              <a:gd name="connsiteX88" fmla="*/ 119370 w 374291"/>
              <a:gd name="connsiteY88" fmla="*/ 268722 h 272690"/>
              <a:gd name="connsiteX89" fmla="*/ 107146 w 374291"/>
              <a:gd name="connsiteY89" fmla="*/ 260065 h 272690"/>
              <a:gd name="connsiteX90" fmla="*/ 111101 w 374291"/>
              <a:gd name="connsiteY90" fmla="*/ 245637 h 272690"/>
              <a:gd name="connsiteX91" fmla="*/ 123685 w 374291"/>
              <a:gd name="connsiteY91" fmla="*/ 217863 h 272690"/>
              <a:gd name="connsiteX92" fmla="*/ 123685 w 374291"/>
              <a:gd name="connsiteY92" fmla="*/ 195860 h 272690"/>
              <a:gd name="connsiteX93" fmla="*/ 80899 w 374291"/>
              <a:gd name="connsiteY93" fmla="*/ 195860 h 272690"/>
              <a:gd name="connsiteX94" fmla="*/ 80899 w 374291"/>
              <a:gd name="connsiteY94" fmla="*/ 259344 h 272690"/>
              <a:gd name="connsiteX95" fmla="*/ 67955 w 374291"/>
              <a:gd name="connsiteY95" fmla="*/ 272690 h 272690"/>
              <a:gd name="connsiteX96" fmla="*/ 12944 w 374291"/>
              <a:gd name="connsiteY96" fmla="*/ 272690 h 272690"/>
              <a:gd name="connsiteX97" fmla="*/ 0 w 374291"/>
              <a:gd name="connsiteY97" fmla="*/ 259344 h 272690"/>
              <a:gd name="connsiteX98" fmla="*/ 0 w 374291"/>
              <a:gd name="connsiteY98" fmla="*/ 138509 h 272690"/>
              <a:gd name="connsiteX99" fmla="*/ 12944 w 374291"/>
              <a:gd name="connsiteY99" fmla="*/ 125163 h 272690"/>
              <a:gd name="connsiteX100" fmla="*/ 21213 w 374291"/>
              <a:gd name="connsiteY100" fmla="*/ 125163 h 272690"/>
              <a:gd name="connsiteX101" fmla="*/ 21213 w 374291"/>
              <a:gd name="connsiteY101" fmla="*/ 17313 h 272690"/>
              <a:gd name="connsiteX102" fmla="*/ 38112 w 374291"/>
              <a:gd name="connsiteY102"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74291" h="272690">
                <a:moveTo>
                  <a:pt x="40308" y="250825"/>
                </a:moveTo>
                <a:cubicBezTo>
                  <a:pt x="42379" y="250825"/>
                  <a:pt x="44105" y="252551"/>
                  <a:pt x="44105" y="254621"/>
                </a:cubicBezTo>
                <a:cubicBezTo>
                  <a:pt x="44105" y="257037"/>
                  <a:pt x="42379" y="258417"/>
                  <a:pt x="40308" y="258417"/>
                </a:cubicBezTo>
                <a:cubicBezTo>
                  <a:pt x="38238" y="258417"/>
                  <a:pt x="36512" y="257037"/>
                  <a:pt x="36512" y="254621"/>
                </a:cubicBezTo>
                <a:cubicBezTo>
                  <a:pt x="36512" y="252551"/>
                  <a:pt x="38238" y="250825"/>
                  <a:pt x="40308" y="250825"/>
                </a:cubicBezTo>
                <a:close/>
                <a:moveTo>
                  <a:pt x="9708" y="248161"/>
                </a:moveTo>
                <a:lnTo>
                  <a:pt x="9708" y="259344"/>
                </a:lnTo>
                <a:cubicBezTo>
                  <a:pt x="9708" y="261147"/>
                  <a:pt x="11506" y="262951"/>
                  <a:pt x="12944" y="262951"/>
                </a:cubicBezTo>
                <a:lnTo>
                  <a:pt x="67955" y="262951"/>
                </a:lnTo>
                <a:cubicBezTo>
                  <a:pt x="69753" y="262951"/>
                  <a:pt x="71191" y="261147"/>
                  <a:pt x="71191" y="259344"/>
                </a:cubicBezTo>
                <a:lnTo>
                  <a:pt x="71191" y="248161"/>
                </a:lnTo>
                <a:close/>
                <a:moveTo>
                  <a:pt x="309562" y="244475"/>
                </a:moveTo>
                <a:cubicBezTo>
                  <a:pt x="312737" y="244475"/>
                  <a:pt x="315559" y="247221"/>
                  <a:pt x="315559" y="250653"/>
                </a:cubicBezTo>
                <a:cubicBezTo>
                  <a:pt x="315559" y="254086"/>
                  <a:pt x="312737" y="256832"/>
                  <a:pt x="309562" y="256832"/>
                </a:cubicBezTo>
                <a:cubicBezTo>
                  <a:pt x="306034" y="256832"/>
                  <a:pt x="303212" y="254086"/>
                  <a:pt x="303212" y="250653"/>
                </a:cubicBezTo>
                <a:cubicBezTo>
                  <a:pt x="303212" y="247221"/>
                  <a:pt x="306034" y="244475"/>
                  <a:pt x="309562" y="244475"/>
                </a:cubicBezTo>
                <a:close/>
                <a:moveTo>
                  <a:pt x="255639" y="240226"/>
                </a:moveTo>
                <a:lnTo>
                  <a:pt x="255639" y="255015"/>
                </a:lnTo>
                <a:cubicBezTo>
                  <a:pt x="255639" y="259344"/>
                  <a:pt x="258875" y="262951"/>
                  <a:pt x="263190" y="262951"/>
                </a:cubicBezTo>
                <a:lnTo>
                  <a:pt x="357032" y="262951"/>
                </a:lnTo>
                <a:cubicBezTo>
                  <a:pt x="361347" y="262951"/>
                  <a:pt x="364583" y="259344"/>
                  <a:pt x="364583" y="255015"/>
                </a:cubicBezTo>
                <a:lnTo>
                  <a:pt x="364583" y="240226"/>
                </a:lnTo>
                <a:close/>
                <a:moveTo>
                  <a:pt x="133393" y="195860"/>
                </a:moveTo>
                <a:lnTo>
                  <a:pt x="133393" y="217863"/>
                </a:lnTo>
                <a:cubicBezTo>
                  <a:pt x="133393" y="231930"/>
                  <a:pt x="127640" y="244554"/>
                  <a:pt x="117213" y="253212"/>
                </a:cubicBezTo>
                <a:cubicBezTo>
                  <a:pt x="115775" y="254655"/>
                  <a:pt x="116134" y="256097"/>
                  <a:pt x="116494" y="256819"/>
                </a:cubicBezTo>
                <a:cubicBezTo>
                  <a:pt x="116494" y="257179"/>
                  <a:pt x="117213" y="258622"/>
                  <a:pt x="119370" y="258622"/>
                </a:cubicBezTo>
                <a:lnTo>
                  <a:pt x="209617" y="258622"/>
                </a:lnTo>
                <a:cubicBezTo>
                  <a:pt x="211415" y="258622"/>
                  <a:pt x="212134" y="257179"/>
                  <a:pt x="212493" y="256819"/>
                </a:cubicBezTo>
                <a:cubicBezTo>
                  <a:pt x="212853" y="256097"/>
                  <a:pt x="212853" y="254655"/>
                  <a:pt x="211415" y="253212"/>
                </a:cubicBezTo>
                <a:cubicBezTo>
                  <a:pt x="200988" y="244554"/>
                  <a:pt x="195235" y="231930"/>
                  <a:pt x="195235" y="217863"/>
                </a:cubicBezTo>
                <a:lnTo>
                  <a:pt x="195235" y="195860"/>
                </a:lnTo>
                <a:close/>
                <a:moveTo>
                  <a:pt x="168103" y="163512"/>
                </a:moveTo>
                <a:cubicBezTo>
                  <a:pt x="171536" y="163512"/>
                  <a:pt x="174282" y="166258"/>
                  <a:pt x="174282" y="169690"/>
                </a:cubicBezTo>
                <a:cubicBezTo>
                  <a:pt x="174282" y="173123"/>
                  <a:pt x="171536" y="175869"/>
                  <a:pt x="168103" y="175869"/>
                </a:cubicBezTo>
                <a:cubicBezTo>
                  <a:pt x="164671" y="175869"/>
                  <a:pt x="161925" y="173123"/>
                  <a:pt x="161925" y="169690"/>
                </a:cubicBezTo>
                <a:cubicBezTo>
                  <a:pt x="161925" y="166258"/>
                  <a:pt x="164671" y="163512"/>
                  <a:pt x="168103" y="163512"/>
                </a:cubicBezTo>
                <a:close/>
                <a:moveTo>
                  <a:pt x="80899" y="155101"/>
                </a:moveTo>
                <a:lnTo>
                  <a:pt x="80899" y="185760"/>
                </a:lnTo>
                <a:lnTo>
                  <a:pt x="123685" y="185760"/>
                </a:lnTo>
                <a:lnTo>
                  <a:pt x="204943" y="185760"/>
                </a:lnTo>
                <a:lnTo>
                  <a:pt x="245932" y="185760"/>
                </a:lnTo>
                <a:lnTo>
                  <a:pt x="245932" y="155101"/>
                </a:lnTo>
                <a:close/>
                <a:moveTo>
                  <a:pt x="12944" y="134902"/>
                </a:moveTo>
                <a:cubicBezTo>
                  <a:pt x="11506" y="134902"/>
                  <a:pt x="9708" y="136705"/>
                  <a:pt x="9708" y="138509"/>
                </a:cubicBezTo>
                <a:lnTo>
                  <a:pt x="9708" y="238423"/>
                </a:lnTo>
                <a:lnTo>
                  <a:pt x="71191" y="238423"/>
                </a:lnTo>
                <a:lnTo>
                  <a:pt x="71191" y="195860"/>
                </a:lnTo>
                <a:lnTo>
                  <a:pt x="71191" y="138509"/>
                </a:lnTo>
                <a:cubicBezTo>
                  <a:pt x="71191" y="136705"/>
                  <a:pt x="69753" y="134902"/>
                  <a:pt x="67955" y="134902"/>
                </a:cubicBezTo>
                <a:lnTo>
                  <a:pt x="21213" y="134902"/>
                </a:lnTo>
                <a:close/>
                <a:moveTo>
                  <a:pt x="263190" y="86568"/>
                </a:moveTo>
                <a:cubicBezTo>
                  <a:pt x="258875" y="86568"/>
                  <a:pt x="255639" y="89814"/>
                  <a:pt x="255639" y="94142"/>
                </a:cubicBezTo>
                <a:lnTo>
                  <a:pt x="255639" y="195860"/>
                </a:lnTo>
                <a:lnTo>
                  <a:pt x="255639" y="230487"/>
                </a:lnTo>
                <a:lnTo>
                  <a:pt x="364583" y="230487"/>
                </a:lnTo>
                <a:lnTo>
                  <a:pt x="364583" y="94142"/>
                </a:lnTo>
                <a:cubicBezTo>
                  <a:pt x="364583" y="89814"/>
                  <a:pt x="361347" y="86568"/>
                  <a:pt x="357032" y="86568"/>
                </a:cubicBezTo>
                <a:lnTo>
                  <a:pt x="307414" y="86568"/>
                </a:lnTo>
                <a:close/>
                <a:moveTo>
                  <a:pt x="38112" y="9739"/>
                </a:moveTo>
                <a:cubicBezTo>
                  <a:pt x="34157" y="9739"/>
                  <a:pt x="30921" y="12985"/>
                  <a:pt x="30921" y="17313"/>
                </a:cubicBezTo>
                <a:lnTo>
                  <a:pt x="30921" y="125163"/>
                </a:lnTo>
                <a:lnTo>
                  <a:pt x="67955" y="125163"/>
                </a:lnTo>
                <a:cubicBezTo>
                  <a:pt x="75146" y="125163"/>
                  <a:pt x="80899" y="130934"/>
                  <a:pt x="80899" y="138509"/>
                </a:cubicBezTo>
                <a:lnTo>
                  <a:pt x="80899" y="145362"/>
                </a:lnTo>
                <a:lnTo>
                  <a:pt x="245932" y="145362"/>
                </a:lnTo>
                <a:lnTo>
                  <a:pt x="245932" y="94142"/>
                </a:lnTo>
                <a:cubicBezTo>
                  <a:pt x="245932" y="91618"/>
                  <a:pt x="246651" y="89453"/>
                  <a:pt x="247370" y="87289"/>
                </a:cubicBezTo>
                <a:cubicBezTo>
                  <a:pt x="249887" y="81157"/>
                  <a:pt x="255999" y="76829"/>
                  <a:pt x="263190" y="76829"/>
                </a:cubicBezTo>
                <a:lnTo>
                  <a:pt x="298066" y="76829"/>
                </a:lnTo>
                <a:lnTo>
                  <a:pt x="298066" y="17313"/>
                </a:lnTo>
                <a:cubicBezTo>
                  <a:pt x="298066" y="12985"/>
                  <a:pt x="294471" y="9739"/>
                  <a:pt x="290516" y="9739"/>
                </a:cubicBezTo>
                <a:close/>
                <a:moveTo>
                  <a:pt x="38112" y="0"/>
                </a:moveTo>
                <a:lnTo>
                  <a:pt x="290516" y="0"/>
                </a:lnTo>
                <a:cubicBezTo>
                  <a:pt x="300223" y="0"/>
                  <a:pt x="307414" y="7574"/>
                  <a:pt x="307414" y="17313"/>
                </a:cubicBezTo>
                <a:lnTo>
                  <a:pt x="307414" y="76829"/>
                </a:lnTo>
                <a:lnTo>
                  <a:pt x="357032" y="76829"/>
                </a:lnTo>
                <a:cubicBezTo>
                  <a:pt x="366740" y="76829"/>
                  <a:pt x="374291" y="84404"/>
                  <a:pt x="374291" y="94142"/>
                </a:cubicBezTo>
                <a:lnTo>
                  <a:pt x="374291" y="255015"/>
                </a:lnTo>
                <a:cubicBezTo>
                  <a:pt x="374291" y="264754"/>
                  <a:pt x="366740" y="272690"/>
                  <a:pt x="357032" y="272690"/>
                </a:cubicBezTo>
                <a:lnTo>
                  <a:pt x="263190" y="272690"/>
                </a:lnTo>
                <a:cubicBezTo>
                  <a:pt x="253482" y="272690"/>
                  <a:pt x="245932" y="264754"/>
                  <a:pt x="245932" y="255015"/>
                </a:cubicBezTo>
                <a:lnTo>
                  <a:pt x="245932" y="195860"/>
                </a:lnTo>
                <a:lnTo>
                  <a:pt x="204943" y="195860"/>
                </a:lnTo>
                <a:lnTo>
                  <a:pt x="204943" y="217863"/>
                </a:lnTo>
                <a:cubicBezTo>
                  <a:pt x="204943" y="228684"/>
                  <a:pt x="209617" y="238783"/>
                  <a:pt x="217527" y="245637"/>
                </a:cubicBezTo>
                <a:cubicBezTo>
                  <a:pt x="221842" y="249244"/>
                  <a:pt x="223280" y="254655"/>
                  <a:pt x="221482" y="260065"/>
                </a:cubicBezTo>
                <a:cubicBezTo>
                  <a:pt x="219684" y="265115"/>
                  <a:pt x="215010" y="268722"/>
                  <a:pt x="209617" y="268722"/>
                </a:cubicBezTo>
                <a:lnTo>
                  <a:pt x="119370" y="268722"/>
                </a:lnTo>
                <a:cubicBezTo>
                  <a:pt x="113618" y="268722"/>
                  <a:pt x="108943" y="265115"/>
                  <a:pt x="107146" y="260065"/>
                </a:cubicBezTo>
                <a:cubicBezTo>
                  <a:pt x="105348" y="254655"/>
                  <a:pt x="106786" y="249244"/>
                  <a:pt x="111101" y="245637"/>
                </a:cubicBezTo>
                <a:cubicBezTo>
                  <a:pt x="119370" y="238783"/>
                  <a:pt x="123685" y="228684"/>
                  <a:pt x="123685" y="217863"/>
                </a:cubicBezTo>
                <a:lnTo>
                  <a:pt x="123685" y="195860"/>
                </a:lnTo>
                <a:lnTo>
                  <a:pt x="80899" y="195860"/>
                </a:lnTo>
                <a:lnTo>
                  <a:pt x="80899" y="259344"/>
                </a:lnTo>
                <a:cubicBezTo>
                  <a:pt x="80899" y="266558"/>
                  <a:pt x="75146" y="272690"/>
                  <a:pt x="67955" y="272690"/>
                </a:cubicBezTo>
                <a:lnTo>
                  <a:pt x="12944" y="272690"/>
                </a:lnTo>
                <a:cubicBezTo>
                  <a:pt x="5753" y="272690"/>
                  <a:pt x="0" y="266558"/>
                  <a:pt x="0" y="259344"/>
                </a:cubicBezTo>
                <a:lnTo>
                  <a:pt x="0" y="138509"/>
                </a:lnTo>
                <a:cubicBezTo>
                  <a:pt x="0" y="130934"/>
                  <a:pt x="5753" y="125163"/>
                  <a:pt x="12944" y="125163"/>
                </a:cubicBezTo>
                <a:lnTo>
                  <a:pt x="21213" y="125163"/>
                </a:lnTo>
                <a:lnTo>
                  <a:pt x="21213" y="17313"/>
                </a:lnTo>
                <a:cubicBezTo>
                  <a:pt x="21213" y="7574"/>
                  <a:pt x="28764" y="0"/>
                  <a:pt x="38112"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3" name="Freeform 32">
            <a:extLst>
              <a:ext uri="{FF2B5EF4-FFF2-40B4-BE49-F238E27FC236}">
                <a16:creationId xmlns:a16="http://schemas.microsoft.com/office/drawing/2014/main" id="{5E17FEAE-B00E-2BA6-BAEF-B860C43EF719}"/>
              </a:ext>
            </a:extLst>
          </p:cNvPr>
          <p:cNvSpPr>
            <a:spLocks noChangeArrowheads="1"/>
          </p:cNvSpPr>
          <p:nvPr/>
        </p:nvSpPr>
        <p:spPr bwMode="auto">
          <a:xfrm>
            <a:off x="7574033" y="2697358"/>
            <a:ext cx="1278604" cy="1300898"/>
          </a:xfrm>
          <a:custGeom>
            <a:avLst/>
            <a:gdLst>
              <a:gd name="connsiteX0" fmla="*/ 260119 w 369526"/>
              <a:gd name="connsiteY0" fmla="*/ 330680 h 375969"/>
              <a:gd name="connsiteX1" fmla="*/ 260119 w 369526"/>
              <a:gd name="connsiteY1" fmla="*/ 342901 h 375969"/>
              <a:gd name="connsiteX2" fmla="*/ 249287 w 369526"/>
              <a:gd name="connsiteY2" fmla="*/ 366264 h 375969"/>
              <a:gd name="connsiteX3" fmla="*/ 255064 w 369526"/>
              <a:gd name="connsiteY3" fmla="*/ 366264 h 375969"/>
              <a:gd name="connsiteX4" fmla="*/ 305976 w 369526"/>
              <a:gd name="connsiteY4" fmla="*/ 366264 h 375969"/>
              <a:gd name="connsiteX5" fmla="*/ 295144 w 369526"/>
              <a:gd name="connsiteY5" fmla="*/ 342901 h 375969"/>
              <a:gd name="connsiteX6" fmla="*/ 295144 w 369526"/>
              <a:gd name="connsiteY6" fmla="*/ 330680 h 375969"/>
              <a:gd name="connsiteX7" fmla="*/ 280021 w 369526"/>
              <a:gd name="connsiteY7" fmla="*/ 308065 h 375969"/>
              <a:gd name="connsiteX8" fmla="*/ 283817 w 369526"/>
              <a:gd name="connsiteY8" fmla="*/ 311703 h 375969"/>
              <a:gd name="connsiteX9" fmla="*/ 280021 w 369526"/>
              <a:gd name="connsiteY9" fmla="*/ 315672 h 375969"/>
              <a:gd name="connsiteX10" fmla="*/ 276225 w 369526"/>
              <a:gd name="connsiteY10" fmla="*/ 311703 h 375969"/>
              <a:gd name="connsiteX11" fmla="*/ 280021 w 369526"/>
              <a:gd name="connsiteY11" fmla="*/ 308065 h 375969"/>
              <a:gd name="connsiteX12" fmla="*/ 144685 w 369526"/>
              <a:gd name="connsiteY12" fmla="*/ 306823 h 375969"/>
              <a:gd name="connsiteX13" fmla="*/ 169513 w 369526"/>
              <a:gd name="connsiteY13" fmla="*/ 312345 h 375969"/>
              <a:gd name="connsiteX14" fmla="*/ 173895 w 369526"/>
              <a:gd name="connsiteY14" fmla="*/ 317867 h 375969"/>
              <a:gd name="connsiteX15" fmla="*/ 169148 w 369526"/>
              <a:gd name="connsiteY15" fmla="*/ 322008 h 375969"/>
              <a:gd name="connsiteX16" fmla="*/ 168418 w 369526"/>
              <a:gd name="connsiteY16" fmla="*/ 321663 h 375969"/>
              <a:gd name="connsiteX17" fmla="*/ 141764 w 369526"/>
              <a:gd name="connsiteY17" fmla="*/ 316141 h 375969"/>
              <a:gd name="connsiteX18" fmla="*/ 138843 w 369526"/>
              <a:gd name="connsiteY18" fmla="*/ 309929 h 375969"/>
              <a:gd name="connsiteX19" fmla="*/ 144685 w 369526"/>
              <a:gd name="connsiteY19" fmla="*/ 306823 h 375969"/>
              <a:gd name="connsiteX20" fmla="*/ 195125 w 369526"/>
              <a:gd name="connsiteY20" fmla="*/ 305520 h 375969"/>
              <a:gd name="connsiteX21" fmla="*/ 195125 w 369526"/>
              <a:gd name="connsiteY21" fmla="*/ 318100 h 375969"/>
              <a:gd name="connsiteX22" fmla="*/ 198375 w 369526"/>
              <a:gd name="connsiteY22" fmla="*/ 320975 h 375969"/>
              <a:gd name="connsiteX23" fmla="*/ 250370 w 369526"/>
              <a:gd name="connsiteY23" fmla="*/ 320975 h 375969"/>
              <a:gd name="connsiteX24" fmla="*/ 304893 w 369526"/>
              <a:gd name="connsiteY24" fmla="*/ 320975 h 375969"/>
              <a:gd name="connsiteX25" fmla="*/ 356888 w 369526"/>
              <a:gd name="connsiteY25" fmla="*/ 320975 h 375969"/>
              <a:gd name="connsiteX26" fmla="*/ 359777 w 369526"/>
              <a:gd name="connsiteY26" fmla="*/ 318100 h 375969"/>
              <a:gd name="connsiteX27" fmla="*/ 359777 w 369526"/>
              <a:gd name="connsiteY27" fmla="*/ 305520 h 375969"/>
              <a:gd name="connsiteX28" fmla="*/ 89158 w 369526"/>
              <a:gd name="connsiteY28" fmla="*/ 275338 h 375969"/>
              <a:gd name="connsiteX29" fmla="*/ 96173 w 369526"/>
              <a:gd name="connsiteY29" fmla="*/ 275338 h 375969"/>
              <a:gd name="connsiteX30" fmla="*/ 115740 w 369526"/>
              <a:gd name="connsiteY30" fmla="*/ 292190 h 375969"/>
              <a:gd name="connsiteX31" fmla="*/ 117216 w 369526"/>
              <a:gd name="connsiteY31" fmla="*/ 299151 h 375969"/>
              <a:gd name="connsiteX32" fmla="*/ 112786 w 369526"/>
              <a:gd name="connsiteY32" fmla="*/ 301349 h 375969"/>
              <a:gd name="connsiteX33" fmla="*/ 110202 w 369526"/>
              <a:gd name="connsiteY33" fmla="*/ 300250 h 375969"/>
              <a:gd name="connsiteX34" fmla="*/ 89158 w 369526"/>
              <a:gd name="connsiteY34" fmla="*/ 282299 h 375969"/>
              <a:gd name="connsiteX35" fmla="*/ 89158 w 369526"/>
              <a:gd name="connsiteY35" fmla="*/ 275338 h 375969"/>
              <a:gd name="connsiteX36" fmla="*/ 59476 w 369526"/>
              <a:gd name="connsiteY36" fmla="*/ 219878 h 375969"/>
              <a:gd name="connsiteX37" fmla="*/ 65170 w 369526"/>
              <a:gd name="connsiteY37" fmla="*/ 223442 h 375969"/>
              <a:gd name="connsiteX38" fmla="*/ 74421 w 369526"/>
              <a:gd name="connsiteY38" fmla="*/ 246963 h 375969"/>
              <a:gd name="connsiteX39" fmla="*/ 72286 w 369526"/>
              <a:gd name="connsiteY39" fmla="*/ 253377 h 375969"/>
              <a:gd name="connsiteX40" fmla="*/ 70151 w 369526"/>
              <a:gd name="connsiteY40" fmla="*/ 253734 h 375969"/>
              <a:gd name="connsiteX41" fmla="*/ 66237 w 369526"/>
              <a:gd name="connsiteY41" fmla="*/ 251239 h 375969"/>
              <a:gd name="connsiteX42" fmla="*/ 56274 w 369526"/>
              <a:gd name="connsiteY42" fmla="*/ 225936 h 375969"/>
              <a:gd name="connsiteX43" fmla="*/ 59476 w 369526"/>
              <a:gd name="connsiteY43" fmla="*/ 219878 h 375969"/>
              <a:gd name="connsiteX44" fmla="*/ 198375 w 369526"/>
              <a:gd name="connsiteY44" fmla="*/ 214582 h 375969"/>
              <a:gd name="connsiteX45" fmla="*/ 195125 w 369526"/>
              <a:gd name="connsiteY45" fmla="*/ 217458 h 375969"/>
              <a:gd name="connsiteX46" fmla="*/ 195125 w 369526"/>
              <a:gd name="connsiteY46" fmla="*/ 295456 h 375969"/>
              <a:gd name="connsiteX47" fmla="*/ 359777 w 369526"/>
              <a:gd name="connsiteY47" fmla="*/ 295456 h 375969"/>
              <a:gd name="connsiteX48" fmla="*/ 359777 w 369526"/>
              <a:gd name="connsiteY48" fmla="*/ 217458 h 375969"/>
              <a:gd name="connsiteX49" fmla="*/ 356888 w 369526"/>
              <a:gd name="connsiteY49" fmla="*/ 214582 h 375969"/>
              <a:gd name="connsiteX50" fmla="*/ 198375 w 369526"/>
              <a:gd name="connsiteY50" fmla="*/ 204878 h 375969"/>
              <a:gd name="connsiteX51" fmla="*/ 356888 w 369526"/>
              <a:gd name="connsiteY51" fmla="*/ 204878 h 375969"/>
              <a:gd name="connsiteX52" fmla="*/ 369526 w 369526"/>
              <a:gd name="connsiteY52" fmla="*/ 217458 h 375969"/>
              <a:gd name="connsiteX53" fmla="*/ 369526 w 369526"/>
              <a:gd name="connsiteY53" fmla="*/ 318100 h 375969"/>
              <a:gd name="connsiteX54" fmla="*/ 356888 w 369526"/>
              <a:gd name="connsiteY54" fmla="*/ 330680 h 375969"/>
              <a:gd name="connsiteX55" fmla="*/ 304893 w 369526"/>
              <a:gd name="connsiteY55" fmla="*/ 330680 h 375969"/>
              <a:gd name="connsiteX56" fmla="*/ 304893 w 369526"/>
              <a:gd name="connsiteY56" fmla="*/ 342901 h 375969"/>
              <a:gd name="connsiteX57" fmla="*/ 312115 w 369526"/>
              <a:gd name="connsiteY57" fmla="*/ 358357 h 375969"/>
              <a:gd name="connsiteX58" fmla="*/ 315003 w 369526"/>
              <a:gd name="connsiteY58" fmla="*/ 369499 h 375969"/>
              <a:gd name="connsiteX59" fmla="*/ 305976 w 369526"/>
              <a:gd name="connsiteY59" fmla="*/ 375969 h 375969"/>
              <a:gd name="connsiteX60" fmla="*/ 249287 w 369526"/>
              <a:gd name="connsiteY60" fmla="*/ 375969 h 375969"/>
              <a:gd name="connsiteX61" fmla="*/ 239899 w 369526"/>
              <a:gd name="connsiteY61" fmla="*/ 369499 h 375969"/>
              <a:gd name="connsiteX62" fmla="*/ 242788 w 369526"/>
              <a:gd name="connsiteY62" fmla="*/ 358357 h 375969"/>
              <a:gd name="connsiteX63" fmla="*/ 250370 w 369526"/>
              <a:gd name="connsiteY63" fmla="*/ 342901 h 375969"/>
              <a:gd name="connsiteX64" fmla="*/ 250370 w 369526"/>
              <a:gd name="connsiteY64" fmla="*/ 330680 h 375969"/>
              <a:gd name="connsiteX65" fmla="*/ 198375 w 369526"/>
              <a:gd name="connsiteY65" fmla="*/ 330680 h 375969"/>
              <a:gd name="connsiteX66" fmla="*/ 185737 w 369526"/>
              <a:gd name="connsiteY66" fmla="*/ 318100 h 375969"/>
              <a:gd name="connsiteX67" fmla="*/ 185737 w 369526"/>
              <a:gd name="connsiteY67" fmla="*/ 217458 h 375969"/>
              <a:gd name="connsiteX68" fmla="*/ 198375 w 369526"/>
              <a:gd name="connsiteY68" fmla="*/ 204878 h 375969"/>
              <a:gd name="connsiteX69" fmla="*/ 60733 w 369526"/>
              <a:gd name="connsiteY69" fmla="*/ 156397 h 375969"/>
              <a:gd name="connsiteX70" fmla="*/ 64362 w 369526"/>
              <a:gd name="connsiteY70" fmla="*/ 162259 h 375969"/>
              <a:gd name="connsiteX71" fmla="*/ 61822 w 369526"/>
              <a:gd name="connsiteY71" fmla="*/ 188270 h 375969"/>
              <a:gd name="connsiteX72" fmla="*/ 56742 w 369526"/>
              <a:gd name="connsiteY72" fmla="*/ 193398 h 375969"/>
              <a:gd name="connsiteX73" fmla="*/ 52387 w 369526"/>
              <a:gd name="connsiteY73" fmla="*/ 188270 h 375969"/>
              <a:gd name="connsiteX74" fmla="*/ 54927 w 369526"/>
              <a:gd name="connsiteY74" fmla="*/ 160061 h 375969"/>
              <a:gd name="connsiteX75" fmla="*/ 60733 w 369526"/>
              <a:gd name="connsiteY75" fmla="*/ 156397 h 375969"/>
              <a:gd name="connsiteX76" fmla="*/ 309086 w 369526"/>
              <a:gd name="connsiteY76" fmla="*/ 151628 h 375969"/>
              <a:gd name="connsiteX77" fmla="*/ 314801 w 369526"/>
              <a:gd name="connsiteY77" fmla="*/ 155257 h 375969"/>
              <a:gd name="connsiteX78" fmla="*/ 318373 w 369526"/>
              <a:gd name="connsiteY78" fmla="*/ 182834 h 375969"/>
              <a:gd name="connsiteX79" fmla="*/ 318730 w 369526"/>
              <a:gd name="connsiteY79" fmla="*/ 183197 h 375969"/>
              <a:gd name="connsiteX80" fmla="*/ 313730 w 369526"/>
              <a:gd name="connsiteY80" fmla="*/ 188640 h 375969"/>
              <a:gd name="connsiteX81" fmla="*/ 309086 w 369526"/>
              <a:gd name="connsiteY81" fmla="*/ 183560 h 375969"/>
              <a:gd name="connsiteX82" fmla="*/ 309086 w 369526"/>
              <a:gd name="connsiteY82" fmla="*/ 183197 h 375969"/>
              <a:gd name="connsiteX83" fmla="*/ 305515 w 369526"/>
              <a:gd name="connsiteY83" fmla="*/ 157797 h 375969"/>
              <a:gd name="connsiteX84" fmla="*/ 309086 w 369526"/>
              <a:gd name="connsiteY84" fmla="*/ 151628 h 375969"/>
              <a:gd name="connsiteX85" fmla="*/ 278413 w 369526"/>
              <a:gd name="connsiteY85" fmla="*/ 97104 h 375969"/>
              <a:gd name="connsiteX86" fmla="*/ 285342 w 369526"/>
              <a:gd name="connsiteY86" fmla="*/ 97456 h 375969"/>
              <a:gd name="connsiteX87" fmla="*/ 301389 w 369526"/>
              <a:gd name="connsiteY87" fmla="*/ 119681 h 375969"/>
              <a:gd name="connsiteX88" fmla="*/ 299565 w 369526"/>
              <a:gd name="connsiteY88" fmla="*/ 126031 h 375969"/>
              <a:gd name="connsiteX89" fmla="*/ 297013 w 369526"/>
              <a:gd name="connsiteY89" fmla="*/ 126737 h 375969"/>
              <a:gd name="connsiteX90" fmla="*/ 293001 w 369526"/>
              <a:gd name="connsiteY90" fmla="*/ 124268 h 375969"/>
              <a:gd name="connsiteX91" fmla="*/ 278049 w 369526"/>
              <a:gd name="connsiteY91" fmla="*/ 104159 h 375969"/>
              <a:gd name="connsiteX92" fmla="*/ 278413 w 369526"/>
              <a:gd name="connsiteY92" fmla="*/ 97104 h 375969"/>
              <a:gd name="connsiteX93" fmla="*/ 232626 w 369526"/>
              <a:gd name="connsiteY93" fmla="*/ 61531 h 375969"/>
              <a:gd name="connsiteX94" fmla="*/ 257110 w 369526"/>
              <a:gd name="connsiteY94" fmla="*/ 74182 h 375969"/>
              <a:gd name="connsiteX95" fmla="*/ 258550 w 369526"/>
              <a:gd name="connsiteY95" fmla="*/ 81251 h 375969"/>
              <a:gd name="connsiteX96" fmla="*/ 254589 w 369526"/>
              <a:gd name="connsiteY96" fmla="*/ 83856 h 375969"/>
              <a:gd name="connsiteX97" fmla="*/ 251709 w 369526"/>
              <a:gd name="connsiteY97" fmla="*/ 82739 h 375969"/>
              <a:gd name="connsiteX98" fmla="*/ 229386 w 369526"/>
              <a:gd name="connsiteY98" fmla="*/ 70833 h 375969"/>
              <a:gd name="connsiteX99" fmla="*/ 226505 w 369526"/>
              <a:gd name="connsiteY99" fmla="*/ 64508 h 375969"/>
              <a:gd name="connsiteX100" fmla="*/ 232626 w 369526"/>
              <a:gd name="connsiteY100" fmla="*/ 61531 h 375969"/>
              <a:gd name="connsiteX101" fmla="*/ 126767 w 369526"/>
              <a:gd name="connsiteY101" fmla="*/ 10079 h 375969"/>
              <a:gd name="connsiteX102" fmla="*/ 97319 w 369526"/>
              <a:gd name="connsiteY102" fmla="*/ 22379 h 375969"/>
              <a:gd name="connsiteX103" fmla="*/ 85469 w 369526"/>
              <a:gd name="connsiteY103" fmla="*/ 24188 h 375969"/>
              <a:gd name="connsiteX104" fmla="*/ 67513 w 369526"/>
              <a:gd name="connsiteY104" fmla="*/ 19123 h 375969"/>
              <a:gd name="connsiteX105" fmla="*/ 34474 w 369526"/>
              <a:gd name="connsiteY105" fmla="*/ 53129 h 375969"/>
              <a:gd name="connsiteX106" fmla="*/ 34474 w 369526"/>
              <a:gd name="connsiteY106" fmla="*/ 53490 h 375969"/>
              <a:gd name="connsiteX107" fmla="*/ 63922 w 369526"/>
              <a:gd name="connsiteY107" fmla="*/ 63258 h 375969"/>
              <a:gd name="connsiteX108" fmla="*/ 63922 w 369526"/>
              <a:gd name="connsiteY108" fmla="*/ 70132 h 375969"/>
              <a:gd name="connsiteX109" fmla="*/ 57099 w 369526"/>
              <a:gd name="connsiteY109" fmla="*/ 69770 h 375969"/>
              <a:gd name="connsiteX110" fmla="*/ 30165 w 369526"/>
              <a:gd name="connsiteY110" fmla="*/ 63620 h 375969"/>
              <a:gd name="connsiteX111" fmla="*/ 21906 w 369526"/>
              <a:gd name="connsiteY111" fmla="*/ 66152 h 375969"/>
              <a:gd name="connsiteX112" fmla="*/ 11491 w 369526"/>
              <a:gd name="connsiteY112" fmla="*/ 78090 h 375969"/>
              <a:gd name="connsiteX113" fmla="*/ 9696 w 369526"/>
              <a:gd name="connsiteY113" fmla="*/ 88581 h 375969"/>
              <a:gd name="connsiteX114" fmla="*/ 33756 w 369526"/>
              <a:gd name="connsiteY114" fmla="*/ 112096 h 375969"/>
              <a:gd name="connsiteX115" fmla="*/ 155495 w 369526"/>
              <a:gd name="connsiteY115" fmla="*/ 112096 h 375969"/>
              <a:gd name="connsiteX116" fmla="*/ 179197 w 369526"/>
              <a:gd name="connsiteY116" fmla="*/ 87496 h 375969"/>
              <a:gd name="connsiteX117" fmla="*/ 161241 w 369526"/>
              <a:gd name="connsiteY117" fmla="*/ 63620 h 375969"/>
              <a:gd name="connsiteX118" fmla="*/ 146159 w 369526"/>
              <a:gd name="connsiteY118" fmla="*/ 82793 h 375969"/>
              <a:gd name="connsiteX119" fmla="*/ 142927 w 369526"/>
              <a:gd name="connsiteY119" fmla="*/ 84240 h 375969"/>
              <a:gd name="connsiteX120" fmla="*/ 139335 w 369526"/>
              <a:gd name="connsiteY120" fmla="*/ 82793 h 375969"/>
              <a:gd name="connsiteX121" fmla="*/ 139335 w 369526"/>
              <a:gd name="connsiteY121" fmla="*/ 75558 h 375969"/>
              <a:gd name="connsiteX122" fmla="*/ 154777 w 369526"/>
              <a:gd name="connsiteY122" fmla="*/ 53490 h 375969"/>
              <a:gd name="connsiteX123" fmla="*/ 155136 w 369526"/>
              <a:gd name="connsiteY123" fmla="*/ 52405 h 375969"/>
              <a:gd name="connsiteX124" fmla="*/ 155136 w 369526"/>
              <a:gd name="connsiteY124" fmla="*/ 36126 h 375969"/>
              <a:gd name="connsiteX125" fmla="*/ 126767 w 369526"/>
              <a:gd name="connsiteY125" fmla="*/ 10079 h 375969"/>
              <a:gd name="connsiteX126" fmla="*/ 128203 w 369526"/>
              <a:gd name="connsiteY126" fmla="*/ 312 h 375969"/>
              <a:gd name="connsiteX127" fmla="*/ 164832 w 369526"/>
              <a:gd name="connsiteY127" fmla="*/ 33955 h 375969"/>
              <a:gd name="connsiteX128" fmla="*/ 164473 w 369526"/>
              <a:gd name="connsiteY128" fmla="*/ 54214 h 375969"/>
              <a:gd name="connsiteX129" fmla="*/ 165910 w 369526"/>
              <a:gd name="connsiteY129" fmla="*/ 54576 h 375969"/>
              <a:gd name="connsiteX130" fmla="*/ 168423 w 369526"/>
              <a:gd name="connsiteY130" fmla="*/ 53490 h 375969"/>
              <a:gd name="connsiteX131" fmla="*/ 179197 w 369526"/>
              <a:gd name="connsiteY131" fmla="*/ 52767 h 375969"/>
              <a:gd name="connsiteX132" fmla="*/ 195357 w 369526"/>
              <a:gd name="connsiteY132" fmla="*/ 53129 h 375969"/>
              <a:gd name="connsiteX133" fmla="*/ 199666 w 369526"/>
              <a:gd name="connsiteY133" fmla="*/ 58555 h 375969"/>
              <a:gd name="connsiteX134" fmla="*/ 194639 w 369526"/>
              <a:gd name="connsiteY134" fmla="*/ 62896 h 375969"/>
              <a:gd name="connsiteX135" fmla="*/ 179197 w 369526"/>
              <a:gd name="connsiteY135" fmla="*/ 62535 h 375969"/>
              <a:gd name="connsiteX136" fmla="*/ 178838 w 369526"/>
              <a:gd name="connsiteY136" fmla="*/ 62535 h 375969"/>
              <a:gd name="connsiteX137" fmla="*/ 189252 w 369526"/>
              <a:gd name="connsiteY137" fmla="*/ 87496 h 375969"/>
              <a:gd name="connsiteX138" fmla="*/ 155495 w 369526"/>
              <a:gd name="connsiteY138" fmla="*/ 121863 h 375969"/>
              <a:gd name="connsiteX139" fmla="*/ 80082 w 369526"/>
              <a:gd name="connsiteY139" fmla="*/ 121863 h 375969"/>
              <a:gd name="connsiteX140" fmla="*/ 75414 w 369526"/>
              <a:gd name="connsiteY140" fmla="*/ 130184 h 375969"/>
              <a:gd name="connsiteX141" fmla="*/ 70745 w 369526"/>
              <a:gd name="connsiteY141" fmla="*/ 133078 h 375969"/>
              <a:gd name="connsiteX142" fmla="*/ 68591 w 369526"/>
              <a:gd name="connsiteY142" fmla="*/ 132354 h 375969"/>
              <a:gd name="connsiteX143" fmla="*/ 66795 w 369526"/>
              <a:gd name="connsiteY143" fmla="*/ 125481 h 375969"/>
              <a:gd name="connsiteX144" fmla="*/ 68591 w 369526"/>
              <a:gd name="connsiteY144" fmla="*/ 121863 h 375969"/>
              <a:gd name="connsiteX145" fmla="*/ 33756 w 369526"/>
              <a:gd name="connsiteY145" fmla="*/ 121863 h 375969"/>
              <a:gd name="connsiteX146" fmla="*/ 0 w 369526"/>
              <a:gd name="connsiteY146" fmla="*/ 90390 h 375969"/>
              <a:gd name="connsiteX147" fmla="*/ 0 w 369526"/>
              <a:gd name="connsiteY147" fmla="*/ 90028 h 375969"/>
              <a:gd name="connsiteX148" fmla="*/ 0 w 369526"/>
              <a:gd name="connsiteY148" fmla="*/ 88581 h 375969"/>
              <a:gd name="connsiteX149" fmla="*/ 0 w 369526"/>
              <a:gd name="connsiteY149" fmla="*/ 87496 h 375969"/>
              <a:gd name="connsiteX150" fmla="*/ 3591 w 369526"/>
              <a:gd name="connsiteY150" fmla="*/ 72664 h 375969"/>
              <a:gd name="connsiteX151" fmla="*/ 17596 w 369526"/>
              <a:gd name="connsiteY151" fmla="*/ 57108 h 375969"/>
              <a:gd name="connsiteX152" fmla="*/ 24419 w 369526"/>
              <a:gd name="connsiteY152" fmla="*/ 54214 h 375969"/>
              <a:gd name="connsiteX153" fmla="*/ 25138 w 369526"/>
              <a:gd name="connsiteY153" fmla="*/ 53852 h 375969"/>
              <a:gd name="connsiteX154" fmla="*/ 24778 w 369526"/>
              <a:gd name="connsiteY154" fmla="*/ 53129 h 375969"/>
              <a:gd name="connsiteX155" fmla="*/ 67513 w 369526"/>
              <a:gd name="connsiteY155" fmla="*/ 8994 h 375969"/>
              <a:gd name="connsiteX156" fmla="*/ 90137 w 369526"/>
              <a:gd name="connsiteY156" fmla="*/ 15867 h 375969"/>
              <a:gd name="connsiteX157" fmla="*/ 128203 w 369526"/>
              <a:gd name="connsiteY157" fmla="*/ 312 h 3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69526" h="375969">
                <a:moveTo>
                  <a:pt x="260119" y="330680"/>
                </a:moveTo>
                <a:lnTo>
                  <a:pt x="260119" y="342901"/>
                </a:lnTo>
                <a:cubicBezTo>
                  <a:pt x="260119" y="351887"/>
                  <a:pt x="256148" y="360513"/>
                  <a:pt x="249287" y="366264"/>
                </a:cubicBezTo>
                <a:lnTo>
                  <a:pt x="255064" y="366264"/>
                </a:lnTo>
                <a:lnTo>
                  <a:pt x="305976" y="366264"/>
                </a:lnTo>
                <a:cubicBezTo>
                  <a:pt x="299116" y="360513"/>
                  <a:pt x="295144" y="351887"/>
                  <a:pt x="295144" y="342901"/>
                </a:cubicBezTo>
                <a:lnTo>
                  <a:pt x="295144" y="330680"/>
                </a:lnTo>
                <a:close/>
                <a:moveTo>
                  <a:pt x="280021" y="308065"/>
                </a:moveTo>
                <a:cubicBezTo>
                  <a:pt x="282092" y="308065"/>
                  <a:pt x="283817" y="309719"/>
                  <a:pt x="283817" y="311703"/>
                </a:cubicBezTo>
                <a:cubicBezTo>
                  <a:pt x="283817" y="313688"/>
                  <a:pt x="282092" y="315672"/>
                  <a:pt x="280021" y="315672"/>
                </a:cubicBezTo>
                <a:cubicBezTo>
                  <a:pt x="277951" y="315672"/>
                  <a:pt x="276225" y="313688"/>
                  <a:pt x="276225" y="311703"/>
                </a:cubicBezTo>
                <a:cubicBezTo>
                  <a:pt x="276225" y="309719"/>
                  <a:pt x="277951" y="308065"/>
                  <a:pt x="280021" y="308065"/>
                </a:cubicBezTo>
                <a:close/>
                <a:moveTo>
                  <a:pt x="144685" y="306823"/>
                </a:moveTo>
                <a:cubicBezTo>
                  <a:pt x="152717" y="309929"/>
                  <a:pt x="161481" y="311655"/>
                  <a:pt x="169513" y="312345"/>
                </a:cubicBezTo>
                <a:cubicBezTo>
                  <a:pt x="172434" y="312690"/>
                  <a:pt x="174260" y="315106"/>
                  <a:pt x="173895" y="317867"/>
                </a:cubicBezTo>
                <a:cubicBezTo>
                  <a:pt x="173530" y="319937"/>
                  <a:pt x="171704" y="322008"/>
                  <a:pt x="169148" y="322008"/>
                </a:cubicBezTo>
                <a:cubicBezTo>
                  <a:pt x="169148" y="322008"/>
                  <a:pt x="168783" y="322008"/>
                  <a:pt x="168418" y="321663"/>
                </a:cubicBezTo>
                <a:cubicBezTo>
                  <a:pt x="159290" y="320628"/>
                  <a:pt x="150527" y="318902"/>
                  <a:pt x="141764" y="316141"/>
                </a:cubicBezTo>
                <a:cubicBezTo>
                  <a:pt x="139208" y="315106"/>
                  <a:pt x="138112" y="312345"/>
                  <a:pt x="138843" y="309929"/>
                </a:cubicBezTo>
                <a:cubicBezTo>
                  <a:pt x="139573" y="307514"/>
                  <a:pt x="142494" y="306478"/>
                  <a:pt x="144685" y="306823"/>
                </a:cubicBezTo>
                <a:close/>
                <a:moveTo>
                  <a:pt x="195125" y="305520"/>
                </a:moveTo>
                <a:lnTo>
                  <a:pt x="195125" y="318100"/>
                </a:lnTo>
                <a:cubicBezTo>
                  <a:pt x="195125" y="319538"/>
                  <a:pt x="196570" y="320975"/>
                  <a:pt x="198375" y="320975"/>
                </a:cubicBezTo>
                <a:lnTo>
                  <a:pt x="250370" y="320975"/>
                </a:lnTo>
                <a:lnTo>
                  <a:pt x="304893" y="320975"/>
                </a:lnTo>
                <a:lnTo>
                  <a:pt x="356888" y="320975"/>
                </a:lnTo>
                <a:cubicBezTo>
                  <a:pt x="358333" y="320975"/>
                  <a:pt x="359777" y="319538"/>
                  <a:pt x="359777" y="318100"/>
                </a:cubicBezTo>
                <a:lnTo>
                  <a:pt x="359777" y="305520"/>
                </a:lnTo>
                <a:close/>
                <a:moveTo>
                  <a:pt x="89158" y="275338"/>
                </a:moveTo>
                <a:cubicBezTo>
                  <a:pt x="91373" y="273140"/>
                  <a:pt x="94327" y="273140"/>
                  <a:pt x="96173" y="275338"/>
                </a:cubicBezTo>
                <a:cubicBezTo>
                  <a:pt x="102080" y="281566"/>
                  <a:pt x="108725" y="287428"/>
                  <a:pt x="115740" y="292190"/>
                </a:cubicBezTo>
                <a:cubicBezTo>
                  <a:pt x="117955" y="293656"/>
                  <a:pt x="118693" y="296953"/>
                  <a:pt x="117216" y="299151"/>
                </a:cubicBezTo>
                <a:cubicBezTo>
                  <a:pt x="116109" y="300616"/>
                  <a:pt x="114632" y="301349"/>
                  <a:pt x="112786" y="301349"/>
                </a:cubicBezTo>
                <a:cubicBezTo>
                  <a:pt x="112048" y="301349"/>
                  <a:pt x="110940" y="300983"/>
                  <a:pt x="110202" y="300250"/>
                </a:cubicBezTo>
                <a:cubicBezTo>
                  <a:pt x="102449" y="295121"/>
                  <a:pt x="95434" y="288893"/>
                  <a:pt x="89158" y="282299"/>
                </a:cubicBezTo>
                <a:cubicBezTo>
                  <a:pt x="87312" y="280101"/>
                  <a:pt x="87312" y="277170"/>
                  <a:pt x="89158" y="275338"/>
                </a:cubicBezTo>
                <a:close/>
                <a:moveTo>
                  <a:pt x="59476" y="219878"/>
                </a:moveTo>
                <a:cubicBezTo>
                  <a:pt x="61967" y="219165"/>
                  <a:pt x="64814" y="220591"/>
                  <a:pt x="65170" y="223442"/>
                </a:cubicBezTo>
                <a:cubicBezTo>
                  <a:pt x="67305" y="231282"/>
                  <a:pt x="70863" y="239122"/>
                  <a:pt x="74421" y="246963"/>
                </a:cubicBezTo>
                <a:cubicBezTo>
                  <a:pt x="75844" y="249101"/>
                  <a:pt x="74777" y="251952"/>
                  <a:pt x="72286" y="253377"/>
                </a:cubicBezTo>
                <a:cubicBezTo>
                  <a:pt x="71930" y="253734"/>
                  <a:pt x="70863" y="253734"/>
                  <a:pt x="70151" y="253734"/>
                </a:cubicBezTo>
                <a:cubicBezTo>
                  <a:pt x="68728" y="253734"/>
                  <a:pt x="66949" y="253021"/>
                  <a:pt x="66237" y="251239"/>
                </a:cubicBezTo>
                <a:cubicBezTo>
                  <a:pt x="61967" y="243043"/>
                  <a:pt x="58409" y="234489"/>
                  <a:pt x="56274" y="225936"/>
                </a:cubicBezTo>
                <a:cubicBezTo>
                  <a:pt x="55562" y="223442"/>
                  <a:pt x="56986" y="220591"/>
                  <a:pt x="59476" y="219878"/>
                </a:cubicBezTo>
                <a:close/>
                <a:moveTo>
                  <a:pt x="198375" y="214582"/>
                </a:moveTo>
                <a:cubicBezTo>
                  <a:pt x="196570" y="214582"/>
                  <a:pt x="195125" y="215661"/>
                  <a:pt x="195125" y="217458"/>
                </a:cubicBezTo>
                <a:lnTo>
                  <a:pt x="195125" y="295456"/>
                </a:lnTo>
                <a:lnTo>
                  <a:pt x="359777" y="295456"/>
                </a:lnTo>
                <a:lnTo>
                  <a:pt x="359777" y="217458"/>
                </a:lnTo>
                <a:cubicBezTo>
                  <a:pt x="359777" y="215661"/>
                  <a:pt x="358333" y="214582"/>
                  <a:pt x="356888" y="214582"/>
                </a:cubicBezTo>
                <a:close/>
                <a:moveTo>
                  <a:pt x="198375" y="204878"/>
                </a:moveTo>
                <a:lnTo>
                  <a:pt x="356888" y="204878"/>
                </a:lnTo>
                <a:cubicBezTo>
                  <a:pt x="363749" y="204878"/>
                  <a:pt x="369526" y="210629"/>
                  <a:pt x="369526" y="217458"/>
                </a:cubicBezTo>
                <a:lnTo>
                  <a:pt x="369526" y="318100"/>
                </a:lnTo>
                <a:cubicBezTo>
                  <a:pt x="369526" y="324929"/>
                  <a:pt x="363749" y="330680"/>
                  <a:pt x="356888" y="330680"/>
                </a:cubicBezTo>
                <a:lnTo>
                  <a:pt x="304893" y="330680"/>
                </a:lnTo>
                <a:lnTo>
                  <a:pt x="304893" y="342901"/>
                </a:lnTo>
                <a:cubicBezTo>
                  <a:pt x="304893" y="348652"/>
                  <a:pt x="307421" y="354762"/>
                  <a:pt x="312115" y="358357"/>
                </a:cubicBezTo>
                <a:cubicBezTo>
                  <a:pt x="315364" y="360873"/>
                  <a:pt x="316448" y="365545"/>
                  <a:pt x="315003" y="369499"/>
                </a:cubicBezTo>
                <a:cubicBezTo>
                  <a:pt x="313920" y="373453"/>
                  <a:pt x="309948" y="375969"/>
                  <a:pt x="305976" y="375969"/>
                </a:cubicBezTo>
                <a:lnTo>
                  <a:pt x="249287" y="375969"/>
                </a:lnTo>
                <a:cubicBezTo>
                  <a:pt x="244954" y="375969"/>
                  <a:pt x="241343" y="373453"/>
                  <a:pt x="239899" y="369499"/>
                </a:cubicBezTo>
                <a:cubicBezTo>
                  <a:pt x="238455" y="365545"/>
                  <a:pt x="239538" y="360873"/>
                  <a:pt x="242788" y="358357"/>
                </a:cubicBezTo>
                <a:cubicBezTo>
                  <a:pt x="247482" y="354762"/>
                  <a:pt x="250370" y="348652"/>
                  <a:pt x="250370" y="342901"/>
                </a:cubicBezTo>
                <a:lnTo>
                  <a:pt x="250370" y="330680"/>
                </a:lnTo>
                <a:lnTo>
                  <a:pt x="198375" y="330680"/>
                </a:lnTo>
                <a:cubicBezTo>
                  <a:pt x="191153" y="330680"/>
                  <a:pt x="185737" y="324929"/>
                  <a:pt x="185737" y="318100"/>
                </a:cubicBezTo>
                <a:lnTo>
                  <a:pt x="185737" y="217458"/>
                </a:lnTo>
                <a:cubicBezTo>
                  <a:pt x="185737" y="210629"/>
                  <a:pt x="191153" y="204878"/>
                  <a:pt x="198375" y="204878"/>
                </a:cubicBezTo>
                <a:close/>
                <a:moveTo>
                  <a:pt x="60733" y="156397"/>
                </a:moveTo>
                <a:cubicBezTo>
                  <a:pt x="63273" y="157130"/>
                  <a:pt x="64724" y="159695"/>
                  <a:pt x="64362" y="162259"/>
                </a:cubicBezTo>
                <a:cubicBezTo>
                  <a:pt x="62547" y="170685"/>
                  <a:pt x="61822" y="179477"/>
                  <a:pt x="61822" y="188270"/>
                </a:cubicBezTo>
                <a:cubicBezTo>
                  <a:pt x="61822" y="190834"/>
                  <a:pt x="59644" y="193398"/>
                  <a:pt x="56742" y="193398"/>
                </a:cubicBezTo>
                <a:cubicBezTo>
                  <a:pt x="54201" y="193398"/>
                  <a:pt x="52387" y="190834"/>
                  <a:pt x="52387" y="188270"/>
                </a:cubicBezTo>
                <a:cubicBezTo>
                  <a:pt x="52387" y="178745"/>
                  <a:pt x="53112" y="169586"/>
                  <a:pt x="54927" y="160061"/>
                </a:cubicBezTo>
                <a:cubicBezTo>
                  <a:pt x="55290" y="157496"/>
                  <a:pt x="58193" y="155665"/>
                  <a:pt x="60733" y="156397"/>
                </a:cubicBezTo>
                <a:close/>
                <a:moveTo>
                  <a:pt x="309086" y="151628"/>
                </a:moveTo>
                <a:cubicBezTo>
                  <a:pt x="311229" y="150903"/>
                  <a:pt x="314087" y="152717"/>
                  <a:pt x="314801" y="155257"/>
                </a:cubicBezTo>
                <a:cubicBezTo>
                  <a:pt x="316944" y="164328"/>
                  <a:pt x="318016" y="173400"/>
                  <a:pt x="318373" y="182834"/>
                </a:cubicBezTo>
                <a:lnTo>
                  <a:pt x="318730" y="183197"/>
                </a:lnTo>
                <a:cubicBezTo>
                  <a:pt x="318730" y="186100"/>
                  <a:pt x="316587" y="188277"/>
                  <a:pt x="313730" y="188640"/>
                </a:cubicBezTo>
                <a:cubicBezTo>
                  <a:pt x="311229" y="188640"/>
                  <a:pt x="309086" y="186463"/>
                  <a:pt x="309086" y="183560"/>
                </a:cubicBezTo>
                <a:lnTo>
                  <a:pt x="309086" y="183197"/>
                </a:lnTo>
                <a:cubicBezTo>
                  <a:pt x="308372" y="174488"/>
                  <a:pt x="307300" y="165780"/>
                  <a:pt x="305515" y="157797"/>
                </a:cubicBezTo>
                <a:cubicBezTo>
                  <a:pt x="304800" y="154894"/>
                  <a:pt x="306229" y="152354"/>
                  <a:pt x="309086" y="151628"/>
                </a:cubicBezTo>
                <a:close/>
                <a:moveTo>
                  <a:pt x="278413" y="97104"/>
                </a:moveTo>
                <a:cubicBezTo>
                  <a:pt x="280237" y="95340"/>
                  <a:pt x="283519" y="95693"/>
                  <a:pt x="285342" y="97456"/>
                </a:cubicBezTo>
                <a:cubicBezTo>
                  <a:pt x="291542" y="104159"/>
                  <a:pt x="297013" y="111920"/>
                  <a:pt x="301389" y="119681"/>
                </a:cubicBezTo>
                <a:cubicBezTo>
                  <a:pt x="302848" y="121798"/>
                  <a:pt x="302118" y="124620"/>
                  <a:pt x="299565" y="126031"/>
                </a:cubicBezTo>
                <a:cubicBezTo>
                  <a:pt x="298836" y="126384"/>
                  <a:pt x="298107" y="126737"/>
                  <a:pt x="297013" y="126737"/>
                </a:cubicBezTo>
                <a:cubicBezTo>
                  <a:pt x="295554" y="126737"/>
                  <a:pt x="293730" y="125679"/>
                  <a:pt x="293001" y="124268"/>
                </a:cubicBezTo>
                <a:cubicBezTo>
                  <a:pt x="288625" y="116859"/>
                  <a:pt x="283884" y="110156"/>
                  <a:pt x="278049" y="104159"/>
                </a:cubicBezTo>
                <a:cubicBezTo>
                  <a:pt x="276225" y="102043"/>
                  <a:pt x="276225" y="98868"/>
                  <a:pt x="278413" y="97104"/>
                </a:cubicBezTo>
                <a:close/>
                <a:moveTo>
                  <a:pt x="232626" y="61531"/>
                </a:moveTo>
                <a:cubicBezTo>
                  <a:pt x="241268" y="64880"/>
                  <a:pt x="249189" y="68973"/>
                  <a:pt x="257110" y="74182"/>
                </a:cubicBezTo>
                <a:cubicBezTo>
                  <a:pt x="259270" y="75670"/>
                  <a:pt x="259990" y="79019"/>
                  <a:pt x="258550" y="81251"/>
                </a:cubicBezTo>
                <a:cubicBezTo>
                  <a:pt x="257470" y="82739"/>
                  <a:pt x="256030" y="83856"/>
                  <a:pt x="254589" y="83856"/>
                </a:cubicBezTo>
                <a:cubicBezTo>
                  <a:pt x="253509" y="83856"/>
                  <a:pt x="252789" y="83484"/>
                  <a:pt x="251709" y="82739"/>
                </a:cubicBezTo>
                <a:cubicBezTo>
                  <a:pt x="244508" y="78275"/>
                  <a:pt x="237307" y="74182"/>
                  <a:pt x="229386" y="70833"/>
                </a:cubicBezTo>
                <a:cubicBezTo>
                  <a:pt x="226865" y="70089"/>
                  <a:pt x="225425" y="67112"/>
                  <a:pt x="226505" y="64508"/>
                </a:cubicBezTo>
                <a:cubicBezTo>
                  <a:pt x="227586" y="61903"/>
                  <a:pt x="230466" y="60415"/>
                  <a:pt x="232626" y="61531"/>
                </a:cubicBezTo>
                <a:close/>
                <a:moveTo>
                  <a:pt x="126767" y="10079"/>
                </a:moveTo>
                <a:cubicBezTo>
                  <a:pt x="115634" y="8632"/>
                  <a:pt x="104502" y="13335"/>
                  <a:pt x="97319" y="22379"/>
                </a:cubicBezTo>
                <a:cubicBezTo>
                  <a:pt x="94447" y="25997"/>
                  <a:pt x="89060" y="27082"/>
                  <a:pt x="85469" y="24188"/>
                </a:cubicBezTo>
                <a:cubicBezTo>
                  <a:pt x="80082" y="20932"/>
                  <a:pt x="73977" y="19123"/>
                  <a:pt x="67513" y="19123"/>
                </a:cubicBezTo>
                <a:cubicBezTo>
                  <a:pt x="49198" y="19123"/>
                  <a:pt x="34474" y="34317"/>
                  <a:pt x="34474" y="53129"/>
                </a:cubicBezTo>
                <a:lnTo>
                  <a:pt x="34474" y="53490"/>
                </a:lnTo>
                <a:cubicBezTo>
                  <a:pt x="54226" y="52767"/>
                  <a:pt x="63563" y="62535"/>
                  <a:pt x="63922" y="63258"/>
                </a:cubicBezTo>
                <a:cubicBezTo>
                  <a:pt x="65718" y="65429"/>
                  <a:pt x="65718" y="68323"/>
                  <a:pt x="63922" y="70132"/>
                </a:cubicBezTo>
                <a:cubicBezTo>
                  <a:pt x="61767" y="71940"/>
                  <a:pt x="58895" y="71940"/>
                  <a:pt x="57099" y="69770"/>
                </a:cubicBezTo>
                <a:cubicBezTo>
                  <a:pt x="56740" y="69408"/>
                  <a:pt x="48839" y="61449"/>
                  <a:pt x="30165" y="63620"/>
                </a:cubicBezTo>
                <a:cubicBezTo>
                  <a:pt x="26933" y="63982"/>
                  <a:pt x="24060" y="65067"/>
                  <a:pt x="21906" y="66152"/>
                </a:cubicBezTo>
                <a:cubicBezTo>
                  <a:pt x="17237" y="68684"/>
                  <a:pt x="13646" y="73026"/>
                  <a:pt x="11491" y="78090"/>
                </a:cubicBezTo>
                <a:cubicBezTo>
                  <a:pt x="10055" y="82431"/>
                  <a:pt x="9696" y="86773"/>
                  <a:pt x="9696" y="88581"/>
                </a:cubicBezTo>
                <a:cubicBezTo>
                  <a:pt x="10414" y="101605"/>
                  <a:pt x="20828" y="112096"/>
                  <a:pt x="33756" y="112096"/>
                </a:cubicBezTo>
                <a:lnTo>
                  <a:pt x="155495" y="112096"/>
                </a:lnTo>
                <a:cubicBezTo>
                  <a:pt x="168783" y="112096"/>
                  <a:pt x="179197" y="101243"/>
                  <a:pt x="179197" y="87496"/>
                </a:cubicBezTo>
                <a:cubicBezTo>
                  <a:pt x="179197" y="75920"/>
                  <a:pt x="172015" y="66152"/>
                  <a:pt x="161241" y="63620"/>
                </a:cubicBezTo>
                <a:cubicBezTo>
                  <a:pt x="158368" y="67961"/>
                  <a:pt x="154059" y="74473"/>
                  <a:pt x="146159" y="82793"/>
                </a:cubicBezTo>
                <a:cubicBezTo>
                  <a:pt x="145440" y="83517"/>
                  <a:pt x="144004" y="84240"/>
                  <a:pt x="142927" y="84240"/>
                </a:cubicBezTo>
                <a:cubicBezTo>
                  <a:pt x="141490" y="84240"/>
                  <a:pt x="140413" y="83517"/>
                  <a:pt x="139335" y="82793"/>
                </a:cubicBezTo>
                <a:cubicBezTo>
                  <a:pt x="137540" y="80623"/>
                  <a:pt x="137540" y="77728"/>
                  <a:pt x="139335" y="75558"/>
                </a:cubicBezTo>
                <a:cubicBezTo>
                  <a:pt x="153341" y="61449"/>
                  <a:pt x="154777" y="53852"/>
                  <a:pt x="154777" y="53490"/>
                </a:cubicBezTo>
                <a:cubicBezTo>
                  <a:pt x="154777" y="53129"/>
                  <a:pt x="154777" y="52767"/>
                  <a:pt x="155136" y="52405"/>
                </a:cubicBezTo>
                <a:cubicBezTo>
                  <a:pt x="156214" y="46979"/>
                  <a:pt x="156214" y="41552"/>
                  <a:pt x="155136" y="36126"/>
                </a:cubicBezTo>
                <a:cubicBezTo>
                  <a:pt x="152263" y="22741"/>
                  <a:pt x="140413" y="11526"/>
                  <a:pt x="126767" y="10079"/>
                </a:cubicBezTo>
                <a:close/>
                <a:moveTo>
                  <a:pt x="128203" y="312"/>
                </a:moveTo>
                <a:cubicBezTo>
                  <a:pt x="146159" y="2482"/>
                  <a:pt x="160882" y="15867"/>
                  <a:pt x="164832" y="33955"/>
                </a:cubicBezTo>
                <a:cubicBezTo>
                  <a:pt x="165910" y="40829"/>
                  <a:pt x="165910" y="47702"/>
                  <a:pt x="164473" y="54214"/>
                </a:cubicBezTo>
                <a:cubicBezTo>
                  <a:pt x="164832" y="54576"/>
                  <a:pt x="165191" y="54576"/>
                  <a:pt x="165910" y="54576"/>
                </a:cubicBezTo>
                <a:cubicBezTo>
                  <a:pt x="166628" y="54214"/>
                  <a:pt x="167346" y="53852"/>
                  <a:pt x="168423" y="53490"/>
                </a:cubicBezTo>
                <a:cubicBezTo>
                  <a:pt x="172015" y="53129"/>
                  <a:pt x="175247" y="52767"/>
                  <a:pt x="179197" y="52767"/>
                </a:cubicBezTo>
                <a:cubicBezTo>
                  <a:pt x="184583" y="52405"/>
                  <a:pt x="189970" y="52767"/>
                  <a:pt x="195357" y="53129"/>
                </a:cubicBezTo>
                <a:cubicBezTo>
                  <a:pt x="197871" y="53129"/>
                  <a:pt x="199666" y="55661"/>
                  <a:pt x="199666" y="58555"/>
                </a:cubicBezTo>
                <a:cubicBezTo>
                  <a:pt x="199307" y="61087"/>
                  <a:pt x="197152" y="62896"/>
                  <a:pt x="194639" y="62896"/>
                </a:cubicBezTo>
                <a:cubicBezTo>
                  <a:pt x="189611" y="62535"/>
                  <a:pt x="184583" y="62535"/>
                  <a:pt x="179197" y="62535"/>
                </a:cubicBezTo>
                <a:lnTo>
                  <a:pt x="178838" y="62535"/>
                </a:lnTo>
                <a:cubicBezTo>
                  <a:pt x="185302" y="69046"/>
                  <a:pt x="189252" y="77728"/>
                  <a:pt x="189252" y="87496"/>
                </a:cubicBezTo>
                <a:cubicBezTo>
                  <a:pt x="189252" y="106308"/>
                  <a:pt x="173810" y="121863"/>
                  <a:pt x="155495" y="121863"/>
                </a:cubicBezTo>
                <a:lnTo>
                  <a:pt x="80082" y="121863"/>
                </a:lnTo>
                <a:cubicBezTo>
                  <a:pt x="78287" y="124757"/>
                  <a:pt x="76491" y="127290"/>
                  <a:pt x="75414" y="130184"/>
                </a:cubicBezTo>
                <a:cubicBezTo>
                  <a:pt x="74336" y="131993"/>
                  <a:pt x="72541" y="133078"/>
                  <a:pt x="70745" y="133078"/>
                </a:cubicBezTo>
                <a:cubicBezTo>
                  <a:pt x="70386" y="133078"/>
                  <a:pt x="69309" y="132716"/>
                  <a:pt x="68591" y="132354"/>
                </a:cubicBezTo>
                <a:cubicBezTo>
                  <a:pt x="66077" y="130907"/>
                  <a:pt x="65359" y="128013"/>
                  <a:pt x="66795" y="125481"/>
                </a:cubicBezTo>
                <a:cubicBezTo>
                  <a:pt x="67513" y="124396"/>
                  <a:pt x="67872" y="123310"/>
                  <a:pt x="68591" y="121863"/>
                </a:cubicBezTo>
                <a:lnTo>
                  <a:pt x="33756" y="121863"/>
                </a:lnTo>
                <a:cubicBezTo>
                  <a:pt x="16160" y="121863"/>
                  <a:pt x="1795" y="108116"/>
                  <a:pt x="0" y="90390"/>
                </a:cubicBezTo>
                <a:cubicBezTo>
                  <a:pt x="0" y="90028"/>
                  <a:pt x="0" y="90028"/>
                  <a:pt x="0" y="90028"/>
                </a:cubicBezTo>
                <a:cubicBezTo>
                  <a:pt x="0" y="89305"/>
                  <a:pt x="0" y="89305"/>
                  <a:pt x="0" y="88581"/>
                </a:cubicBezTo>
                <a:cubicBezTo>
                  <a:pt x="0" y="88220"/>
                  <a:pt x="0" y="87858"/>
                  <a:pt x="0" y="87496"/>
                </a:cubicBezTo>
                <a:cubicBezTo>
                  <a:pt x="0" y="82070"/>
                  <a:pt x="1436" y="77367"/>
                  <a:pt x="3591" y="72664"/>
                </a:cubicBezTo>
                <a:cubicBezTo>
                  <a:pt x="6105" y="66514"/>
                  <a:pt x="10414" y="60726"/>
                  <a:pt x="17596" y="57108"/>
                </a:cubicBezTo>
                <a:cubicBezTo>
                  <a:pt x="20110" y="56023"/>
                  <a:pt x="22265" y="54938"/>
                  <a:pt x="24419" y="54214"/>
                </a:cubicBezTo>
                <a:cubicBezTo>
                  <a:pt x="24778" y="54214"/>
                  <a:pt x="24778" y="54214"/>
                  <a:pt x="25138" y="53852"/>
                </a:cubicBezTo>
                <a:lnTo>
                  <a:pt x="24778" y="53129"/>
                </a:lnTo>
                <a:cubicBezTo>
                  <a:pt x="24778" y="28891"/>
                  <a:pt x="44170" y="8994"/>
                  <a:pt x="67513" y="8994"/>
                </a:cubicBezTo>
                <a:cubicBezTo>
                  <a:pt x="75414" y="8994"/>
                  <a:pt x="83314" y="11526"/>
                  <a:pt x="90137" y="15867"/>
                </a:cubicBezTo>
                <a:cubicBezTo>
                  <a:pt x="99474" y="4653"/>
                  <a:pt x="113479" y="-1497"/>
                  <a:pt x="128203" y="31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4" name="Freeform 33">
            <a:extLst>
              <a:ext uri="{FF2B5EF4-FFF2-40B4-BE49-F238E27FC236}">
                <a16:creationId xmlns:a16="http://schemas.microsoft.com/office/drawing/2014/main" id="{AF8486D8-7773-E380-0E49-D213AC3FE3E9}"/>
              </a:ext>
            </a:extLst>
          </p:cNvPr>
          <p:cNvSpPr>
            <a:spLocks noChangeArrowheads="1"/>
          </p:cNvSpPr>
          <p:nvPr/>
        </p:nvSpPr>
        <p:spPr bwMode="auto">
          <a:xfrm>
            <a:off x="3397532" y="2930183"/>
            <a:ext cx="1350570" cy="1070317"/>
          </a:xfrm>
          <a:custGeom>
            <a:avLst/>
            <a:gdLst>
              <a:gd name="connsiteX0" fmla="*/ 260290 w 1350570"/>
              <a:gd name="connsiteY0" fmla="*/ 706754 h 1070317"/>
              <a:gd name="connsiteX1" fmla="*/ 138006 w 1350570"/>
              <a:gd name="connsiteY1" fmla="*/ 745179 h 1070317"/>
              <a:gd name="connsiteX2" fmla="*/ 351056 w 1350570"/>
              <a:gd name="connsiteY2" fmla="*/ 870371 h 1070317"/>
              <a:gd name="connsiteX3" fmla="*/ 260290 w 1350570"/>
              <a:gd name="connsiteY3" fmla="*/ 706754 h 1070317"/>
              <a:gd name="connsiteX4" fmla="*/ 462220 w 1350570"/>
              <a:gd name="connsiteY4" fmla="*/ 690265 h 1070317"/>
              <a:gd name="connsiteX5" fmla="*/ 462220 w 1350570"/>
              <a:gd name="connsiteY5" fmla="*/ 760452 h 1070317"/>
              <a:gd name="connsiteX6" fmla="*/ 499614 w 1350570"/>
              <a:gd name="connsiteY6" fmla="*/ 742905 h 1070317"/>
              <a:gd name="connsiteX7" fmla="*/ 506852 w 1350570"/>
              <a:gd name="connsiteY7" fmla="*/ 734132 h 1070317"/>
              <a:gd name="connsiteX8" fmla="*/ 506852 w 1350570"/>
              <a:gd name="connsiteY8" fmla="*/ 729119 h 1070317"/>
              <a:gd name="connsiteX9" fmla="*/ 510472 w 1350570"/>
              <a:gd name="connsiteY9" fmla="*/ 692772 h 1070317"/>
              <a:gd name="connsiteX10" fmla="*/ 462220 w 1350570"/>
              <a:gd name="connsiteY10" fmla="*/ 690265 h 1070317"/>
              <a:gd name="connsiteX11" fmla="*/ 428024 w 1350570"/>
              <a:gd name="connsiteY11" fmla="*/ 690265 h 1070317"/>
              <a:gd name="connsiteX12" fmla="*/ 291872 w 1350570"/>
              <a:gd name="connsiteY12" fmla="*/ 703984 h 1070317"/>
              <a:gd name="connsiteX13" fmla="*/ 385094 w 1350570"/>
              <a:gd name="connsiteY13" fmla="*/ 864865 h 1070317"/>
              <a:gd name="connsiteX14" fmla="*/ 428024 w 1350570"/>
              <a:gd name="connsiteY14" fmla="*/ 787542 h 1070317"/>
              <a:gd name="connsiteX15" fmla="*/ 1038232 w 1350570"/>
              <a:gd name="connsiteY15" fmla="*/ 494405 h 1070317"/>
              <a:gd name="connsiteX16" fmla="*/ 875738 w 1350570"/>
              <a:gd name="connsiteY16" fmla="*/ 560297 h 1070317"/>
              <a:gd name="connsiteX17" fmla="*/ 824490 w 1350570"/>
              <a:gd name="connsiteY17" fmla="*/ 567757 h 1070317"/>
              <a:gd name="connsiteX18" fmla="*/ 728244 w 1350570"/>
              <a:gd name="connsiteY18" fmla="*/ 539162 h 1070317"/>
              <a:gd name="connsiteX19" fmla="*/ 547002 w 1350570"/>
              <a:gd name="connsiteY19" fmla="*/ 723164 h 1070317"/>
              <a:gd name="connsiteX20" fmla="*/ 547002 w 1350570"/>
              <a:gd name="connsiteY20" fmla="*/ 726894 h 1070317"/>
              <a:gd name="connsiteX21" fmla="*/ 514504 w 1350570"/>
              <a:gd name="connsiteY21" fmla="*/ 770408 h 1070317"/>
              <a:gd name="connsiteX22" fmla="*/ 418258 w 1350570"/>
              <a:gd name="connsiteY22" fmla="*/ 899706 h 1070317"/>
              <a:gd name="connsiteX23" fmla="*/ 550752 w 1350570"/>
              <a:gd name="connsiteY23" fmla="*/ 1035221 h 1070317"/>
              <a:gd name="connsiteX24" fmla="*/ 1185726 w 1350570"/>
              <a:gd name="connsiteY24" fmla="*/ 1035221 h 1070317"/>
              <a:gd name="connsiteX25" fmla="*/ 1318220 w 1350570"/>
              <a:gd name="connsiteY25" fmla="*/ 899706 h 1070317"/>
              <a:gd name="connsiteX26" fmla="*/ 1215724 w 1350570"/>
              <a:gd name="connsiteY26" fmla="*/ 769164 h 1070317"/>
              <a:gd name="connsiteX27" fmla="*/ 1194476 w 1350570"/>
              <a:gd name="connsiteY27" fmla="*/ 751759 h 1070317"/>
              <a:gd name="connsiteX28" fmla="*/ 1189476 w 1350570"/>
              <a:gd name="connsiteY28" fmla="*/ 724407 h 1070317"/>
              <a:gd name="connsiteX29" fmla="*/ 1191976 w 1350570"/>
              <a:gd name="connsiteY29" fmla="*/ 634893 h 1070317"/>
              <a:gd name="connsiteX30" fmla="*/ 1038232 w 1350570"/>
              <a:gd name="connsiteY30" fmla="*/ 494405 h 1070317"/>
              <a:gd name="connsiteX31" fmla="*/ 462220 w 1350570"/>
              <a:gd name="connsiteY31" fmla="*/ 475956 h 1070317"/>
              <a:gd name="connsiteX32" fmla="*/ 462220 w 1350570"/>
              <a:gd name="connsiteY32" fmla="*/ 653517 h 1070317"/>
              <a:gd name="connsiteX33" fmla="*/ 520412 w 1350570"/>
              <a:gd name="connsiteY33" fmla="*/ 656036 h 1070317"/>
              <a:gd name="connsiteX34" fmla="*/ 633006 w 1350570"/>
              <a:gd name="connsiteY34" fmla="*/ 528847 h 1070317"/>
              <a:gd name="connsiteX35" fmla="*/ 636800 w 1350570"/>
              <a:gd name="connsiteY35" fmla="*/ 475956 h 1070317"/>
              <a:gd name="connsiteX36" fmla="*/ 33596 w 1350570"/>
              <a:gd name="connsiteY36" fmla="*/ 475956 h 1070317"/>
              <a:gd name="connsiteX37" fmla="*/ 119282 w 1350570"/>
              <a:gd name="connsiteY37" fmla="*/ 716504 h 1070317"/>
              <a:gd name="connsiteX38" fmla="*/ 252162 w 1350570"/>
              <a:gd name="connsiteY38" fmla="*/ 671867 h 1070317"/>
              <a:gd name="connsiteX39" fmla="*/ 226082 w 1350570"/>
              <a:gd name="connsiteY39" fmla="*/ 475956 h 1070317"/>
              <a:gd name="connsiteX40" fmla="*/ 666796 w 1350570"/>
              <a:gd name="connsiteY40" fmla="*/ 475954 h 1070317"/>
              <a:gd name="connsiteX41" fmla="*/ 665544 w 1350570"/>
              <a:gd name="connsiteY41" fmla="*/ 513810 h 1070317"/>
              <a:gd name="connsiteX42" fmla="*/ 723140 w 1350570"/>
              <a:gd name="connsiteY42" fmla="*/ 506483 h 1070317"/>
              <a:gd name="connsiteX43" fmla="*/ 837078 w 1350570"/>
              <a:gd name="connsiteY43" fmla="*/ 539455 h 1070317"/>
              <a:gd name="connsiteX44" fmla="*/ 845842 w 1350570"/>
              <a:gd name="connsiteY44" fmla="*/ 538234 h 1070317"/>
              <a:gd name="connsiteX45" fmla="*/ 857110 w 1350570"/>
              <a:gd name="connsiteY45" fmla="*/ 524801 h 1070317"/>
              <a:gd name="connsiteX46" fmla="*/ 862118 w 1350570"/>
              <a:gd name="connsiteY46" fmla="*/ 475954 h 1070317"/>
              <a:gd name="connsiteX47" fmla="*/ 258900 w 1350570"/>
              <a:gd name="connsiteY47" fmla="*/ 475954 h 1070317"/>
              <a:gd name="connsiteX48" fmla="*/ 282352 w 1350570"/>
              <a:gd name="connsiteY48" fmla="*/ 667036 h 1070317"/>
              <a:gd name="connsiteX49" fmla="*/ 428012 w 1350570"/>
              <a:gd name="connsiteY49" fmla="*/ 652050 h 1070317"/>
              <a:gd name="connsiteX50" fmla="*/ 428012 w 1350570"/>
              <a:gd name="connsiteY50" fmla="*/ 475954 h 1070317"/>
              <a:gd name="connsiteX51" fmla="*/ 610234 w 1350570"/>
              <a:gd name="connsiteY51" fmla="*/ 256146 h 1070317"/>
              <a:gd name="connsiteX52" fmla="*/ 462220 w 1350570"/>
              <a:gd name="connsiteY52" fmla="*/ 271231 h 1070317"/>
              <a:gd name="connsiteX53" fmla="*/ 462220 w 1350570"/>
              <a:gd name="connsiteY53" fmla="*/ 447220 h 1070317"/>
              <a:gd name="connsiteX54" fmla="*/ 636800 w 1350570"/>
              <a:gd name="connsiteY54" fmla="*/ 447220 h 1070317"/>
              <a:gd name="connsiteX55" fmla="*/ 610234 w 1350570"/>
              <a:gd name="connsiteY55" fmla="*/ 256146 h 1070317"/>
              <a:gd name="connsiteX56" fmla="*/ 282352 w 1350570"/>
              <a:gd name="connsiteY56" fmla="*/ 256146 h 1070317"/>
              <a:gd name="connsiteX57" fmla="*/ 258900 w 1350570"/>
              <a:gd name="connsiteY57" fmla="*/ 447220 h 1070317"/>
              <a:gd name="connsiteX58" fmla="*/ 428012 w 1350570"/>
              <a:gd name="connsiteY58" fmla="*/ 447220 h 1070317"/>
              <a:gd name="connsiteX59" fmla="*/ 428012 w 1350570"/>
              <a:gd name="connsiteY59" fmla="*/ 271231 h 1070317"/>
              <a:gd name="connsiteX60" fmla="*/ 282352 w 1350570"/>
              <a:gd name="connsiteY60" fmla="*/ 256146 h 1070317"/>
              <a:gd name="connsiteX61" fmla="*/ 776440 w 1350570"/>
              <a:gd name="connsiteY61" fmla="*/ 201195 h 1070317"/>
              <a:gd name="connsiteX62" fmla="*/ 643562 w 1350570"/>
              <a:gd name="connsiteY62" fmla="*/ 244593 h 1070317"/>
              <a:gd name="connsiteX63" fmla="*/ 668400 w 1350570"/>
              <a:gd name="connsiteY63" fmla="*/ 441743 h 1070317"/>
              <a:gd name="connsiteX64" fmla="*/ 862128 w 1350570"/>
              <a:gd name="connsiteY64" fmla="*/ 441743 h 1070317"/>
              <a:gd name="connsiteX65" fmla="*/ 776440 w 1350570"/>
              <a:gd name="connsiteY65" fmla="*/ 201195 h 1070317"/>
              <a:gd name="connsiteX66" fmla="*/ 119282 w 1350570"/>
              <a:gd name="connsiteY66" fmla="*/ 201195 h 1070317"/>
              <a:gd name="connsiteX67" fmla="*/ 33596 w 1350570"/>
              <a:gd name="connsiteY67" fmla="*/ 441743 h 1070317"/>
              <a:gd name="connsiteX68" fmla="*/ 226082 w 1350570"/>
              <a:gd name="connsiteY68" fmla="*/ 441743 h 1070317"/>
              <a:gd name="connsiteX69" fmla="*/ 252162 w 1350570"/>
              <a:gd name="connsiteY69" fmla="*/ 244593 h 1070317"/>
              <a:gd name="connsiteX70" fmla="*/ 119282 w 1350570"/>
              <a:gd name="connsiteY70" fmla="*/ 201195 h 1070317"/>
              <a:gd name="connsiteX71" fmla="*/ 544652 w 1350570"/>
              <a:gd name="connsiteY71" fmla="*/ 47332 h 1070317"/>
              <a:gd name="connsiteX72" fmla="*/ 633614 w 1350570"/>
              <a:gd name="connsiteY72" fmla="*/ 210948 h 1070317"/>
              <a:gd name="connsiteX73" fmla="*/ 752232 w 1350570"/>
              <a:gd name="connsiteY73" fmla="*/ 173763 h 1070317"/>
              <a:gd name="connsiteX74" fmla="*/ 544652 w 1350570"/>
              <a:gd name="connsiteY74" fmla="*/ 47332 h 1070317"/>
              <a:gd name="connsiteX75" fmla="*/ 351056 w 1350570"/>
              <a:gd name="connsiteY75" fmla="*/ 47332 h 1070317"/>
              <a:gd name="connsiteX76" fmla="*/ 138006 w 1350570"/>
              <a:gd name="connsiteY76" fmla="*/ 173763 h 1070317"/>
              <a:gd name="connsiteX77" fmla="*/ 260290 w 1350570"/>
              <a:gd name="connsiteY77" fmla="*/ 210948 h 1070317"/>
              <a:gd name="connsiteX78" fmla="*/ 351056 w 1350570"/>
              <a:gd name="connsiteY78" fmla="*/ 47332 h 1070317"/>
              <a:gd name="connsiteX79" fmla="*/ 462220 w 1350570"/>
              <a:gd name="connsiteY79" fmla="*/ 36339 h 1070317"/>
              <a:gd name="connsiteX80" fmla="*/ 462220 w 1350570"/>
              <a:gd name="connsiteY80" fmla="*/ 232914 h 1070317"/>
              <a:gd name="connsiteX81" fmla="*/ 598364 w 1350570"/>
              <a:gd name="connsiteY81" fmla="*/ 219141 h 1070317"/>
              <a:gd name="connsiteX82" fmla="*/ 462220 w 1350570"/>
              <a:gd name="connsiteY82" fmla="*/ 36339 h 1070317"/>
              <a:gd name="connsiteX83" fmla="*/ 428024 w 1350570"/>
              <a:gd name="connsiteY83" fmla="*/ 36339 h 1070317"/>
              <a:gd name="connsiteX84" fmla="*/ 291872 w 1350570"/>
              <a:gd name="connsiteY84" fmla="*/ 219141 h 1070317"/>
              <a:gd name="connsiteX85" fmla="*/ 428024 w 1350570"/>
              <a:gd name="connsiteY85" fmla="*/ 232914 h 1070317"/>
              <a:gd name="connsiteX86" fmla="*/ 450190 w 1350570"/>
              <a:gd name="connsiteY86" fmla="*/ 0 h 1070317"/>
              <a:gd name="connsiteX87" fmla="*/ 900380 w 1350570"/>
              <a:gd name="connsiteY87" fmla="*/ 457996 h 1070317"/>
              <a:gd name="connsiteX88" fmla="*/ 899132 w 1350570"/>
              <a:gd name="connsiteY88" fmla="*/ 494088 h 1070317"/>
              <a:gd name="connsiteX89" fmla="*/ 1041298 w 1350570"/>
              <a:gd name="connsiteY89" fmla="*/ 460485 h 1070317"/>
              <a:gd name="connsiteX90" fmla="*/ 1223370 w 1350570"/>
              <a:gd name="connsiteY90" fmla="*/ 627255 h 1070317"/>
              <a:gd name="connsiteX91" fmla="*/ 1220876 w 1350570"/>
              <a:gd name="connsiteY91" fmla="*/ 733043 h 1070317"/>
              <a:gd name="connsiteX92" fmla="*/ 1220876 w 1350570"/>
              <a:gd name="connsiteY92" fmla="*/ 735532 h 1070317"/>
              <a:gd name="connsiteX93" fmla="*/ 1222122 w 1350570"/>
              <a:gd name="connsiteY93" fmla="*/ 735532 h 1070317"/>
              <a:gd name="connsiteX94" fmla="*/ 1350570 w 1350570"/>
              <a:gd name="connsiteY94" fmla="*/ 899813 h 1070317"/>
              <a:gd name="connsiteX95" fmla="*/ 1184710 w 1350570"/>
              <a:gd name="connsiteY95" fmla="*/ 1070317 h 1070317"/>
              <a:gd name="connsiteX96" fmla="*/ 551202 w 1350570"/>
              <a:gd name="connsiteY96" fmla="*/ 1070317 h 1070317"/>
              <a:gd name="connsiteX97" fmla="*/ 385342 w 1350570"/>
              <a:gd name="connsiteY97" fmla="*/ 911014 h 1070317"/>
              <a:gd name="connsiteX98" fmla="*/ 0 w 1350570"/>
              <a:gd name="connsiteY98" fmla="*/ 457996 h 1070317"/>
              <a:gd name="connsiteX99" fmla="*/ 450190 w 1350570"/>
              <a:gd name="connsiteY99" fmla="*/ 0 h 107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350570" h="1070317">
                <a:moveTo>
                  <a:pt x="260290" y="706754"/>
                </a:moveTo>
                <a:cubicBezTo>
                  <a:pt x="217428" y="716670"/>
                  <a:pt x="177086" y="729066"/>
                  <a:pt x="138006" y="745179"/>
                </a:cubicBezTo>
                <a:cubicBezTo>
                  <a:pt x="194736" y="805916"/>
                  <a:pt x="267854" y="850538"/>
                  <a:pt x="351056" y="870371"/>
                </a:cubicBezTo>
                <a:cubicBezTo>
                  <a:pt x="313236" y="833185"/>
                  <a:pt x="281720" y="776167"/>
                  <a:pt x="260290" y="706754"/>
                </a:cubicBezTo>
                <a:close/>
                <a:moveTo>
                  <a:pt x="462220" y="690265"/>
                </a:moveTo>
                <a:lnTo>
                  <a:pt x="462220" y="760452"/>
                </a:lnTo>
                <a:cubicBezTo>
                  <a:pt x="474282" y="752932"/>
                  <a:pt x="486346" y="747919"/>
                  <a:pt x="499614" y="742905"/>
                </a:cubicBezTo>
                <a:cubicBezTo>
                  <a:pt x="503234" y="742905"/>
                  <a:pt x="506852" y="739145"/>
                  <a:pt x="506852" y="734132"/>
                </a:cubicBezTo>
                <a:cubicBezTo>
                  <a:pt x="506852" y="732879"/>
                  <a:pt x="506852" y="730372"/>
                  <a:pt x="506852" y="729119"/>
                </a:cubicBezTo>
                <a:cubicBezTo>
                  <a:pt x="506852" y="716585"/>
                  <a:pt x="508060" y="704052"/>
                  <a:pt x="510472" y="692772"/>
                </a:cubicBezTo>
                <a:cubicBezTo>
                  <a:pt x="493584" y="691519"/>
                  <a:pt x="477902" y="690265"/>
                  <a:pt x="462220" y="690265"/>
                </a:cubicBezTo>
                <a:close/>
                <a:moveTo>
                  <a:pt x="428024" y="690265"/>
                </a:moveTo>
                <a:cubicBezTo>
                  <a:pt x="381414" y="691512"/>
                  <a:pt x="337256" y="695254"/>
                  <a:pt x="291872" y="703984"/>
                </a:cubicBezTo>
                <a:cubicBezTo>
                  <a:pt x="315178" y="777565"/>
                  <a:pt x="348296" y="834934"/>
                  <a:pt x="385094" y="864865"/>
                </a:cubicBezTo>
                <a:cubicBezTo>
                  <a:pt x="392454" y="834934"/>
                  <a:pt x="408398" y="808744"/>
                  <a:pt x="428024" y="787542"/>
                </a:cubicBezTo>
                <a:close/>
                <a:moveTo>
                  <a:pt x="1038232" y="494405"/>
                </a:moveTo>
                <a:cubicBezTo>
                  <a:pt x="975734" y="486945"/>
                  <a:pt x="915738" y="511810"/>
                  <a:pt x="875738" y="560297"/>
                </a:cubicBezTo>
                <a:cubicBezTo>
                  <a:pt x="863240" y="576460"/>
                  <a:pt x="841990" y="580189"/>
                  <a:pt x="824490" y="567757"/>
                </a:cubicBezTo>
                <a:cubicBezTo>
                  <a:pt x="795742" y="549108"/>
                  <a:pt x="761994" y="539162"/>
                  <a:pt x="728244" y="539162"/>
                </a:cubicBezTo>
                <a:cubicBezTo>
                  <a:pt x="628250" y="539162"/>
                  <a:pt x="547002" y="621217"/>
                  <a:pt x="547002" y="723164"/>
                </a:cubicBezTo>
                <a:cubicBezTo>
                  <a:pt x="547002" y="724407"/>
                  <a:pt x="547002" y="725650"/>
                  <a:pt x="547002" y="726894"/>
                </a:cubicBezTo>
                <a:cubicBezTo>
                  <a:pt x="547002" y="746786"/>
                  <a:pt x="534504" y="764191"/>
                  <a:pt x="514504" y="770408"/>
                </a:cubicBezTo>
                <a:cubicBezTo>
                  <a:pt x="458256" y="786570"/>
                  <a:pt x="418258" y="840030"/>
                  <a:pt x="418258" y="899706"/>
                </a:cubicBezTo>
                <a:cubicBezTo>
                  <a:pt x="418258" y="974301"/>
                  <a:pt x="478256" y="1035221"/>
                  <a:pt x="550752" y="1035221"/>
                </a:cubicBezTo>
                <a:lnTo>
                  <a:pt x="1185726" y="1035221"/>
                </a:lnTo>
                <a:cubicBezTo>
                  <a:pt x="1259472" y="1035221"/>
                  <a:pt x="1318220" y="974301"/>
                  <a:pt x="1318220" y="899706"/>
                </a:cubicBezTo>
                <a:cubicBezTo>
                  <a:pt x="1318220" y="837543"/>
                  <a:pt x="1275722" y="784083"/>
                  <a:pt x="1215724" y="769164"/>
                </a:cubicBezTo>
                <a:cubicBezTo>
                  <a:pt x="1206974" y="766678"/>
                  <a:pt x="1198226" y="760461"/>
                  <a:pt x="1194476" y="751759"/>
                </a:cubicBezTo>
                <a:cubicBezTo>
                  <a:pt x="1188226" y="743056"/>
                  <a:pt x="1188226" y="733110"/>
                  <a:pt x="1189476" y="724407"/>
                </a:cubicBezTo>
                <a:cubicBezTo>
                  <a:pt x="1198226" y="694569"/>
                  <a:pt x="1198226" y="664731"/>
                  <a:pt x="1191976" y="634893"/>
                </a:cubicBezTo>
                <a:cubicBezTo>
                  <a:pt x="1175726" y="559054"/>
                  <a:pt x="1113228" y="503108"/>
                  <a:pt x="1038232" y="494405"/>
                </a:cubicBezTo>
                <a:close/>
                <a:moveTo>
                  <a:pt x="462220" y="475956"/>
                </a:moveTo>
                <a:lnTo>
                  <a:pt x="462220" y="653517"/>
                </a:lnTo>
                <a:cubicBezTo>
                  <a:pt x="481196" y="653517"/>
                  <a:pt x="501436" y="654777"/>
                  <a:pt x="520412" y="656036"/>
                </a:cubicBezTo>
                <a:cubicBezTo>
                  <a:pt x="539390" y="599368"/>
                  <a:pt x="581138" y="554033"/>
                  <a:pt x="633006" y="528847"/>
                </a:cubicBezTo>
                <a:cubicBezTo>
                  <a:pt x="634270" y="509957"/>
                  <a:pt x="635536" y="493586"/>
                  <a:pt x="636800" y="475956"/>
                </a:cubicBezTo>
                <a:close/>
                <a:moveTo>
                  <a:pt x="33596" y="475956"/>
                </a:moveTo>
                <a:cubicBezTo>
                  <a:pt x="36078" y="566472"/>
                  <a:pt x="68366" y="649548"/>
                  <a:pt x="119282" y="716504"/>
                </a:cubicBezTo>
                <a:cubicBezTo>
                  <a:pt x="160264" y="697905"/>
                  <a:pt x="204970" y="684266"/>
                  <a:pt x="252162" y="671867"/>
                </a:cubicBezTo>
                <a:cubicBezTo>
                  <a:pt x="237258" y="613589"/>
                  <a:pt x="228566" y="546633"/>
                  <a:pt x="226082" y="475956"/>
                </a:cubicBezTo>
                <a:close/>
                <a:moveTo>
                  <a:pt x="666796" y="475954"/>
                </a:moveTo>
                <a:cubicBezTo>
                  <a:pt x="666796" y="488166"/>
                  <a:pt x="665544" y="501599"/>
                  <a:pt x="665544" y="513810"/>
                </a:cubicBezTo>
                <a:cubicBezTo>
                  <a:pt x="683072" y="508926"/>
                  <a:pt x="703106" y="506483"/>
                  <a:pt x="723140" y="506483"/>
                </a:cubicBezTo>
                <a:cubicBezTo>
                  <a:pt x="763206" y="506483"/>
                  <a:pt x="803272" y="516253"/>
                  <a:pt x="837078" y="539455"/>
                </a:cubicBezTo>
                <a:cubicBezTo>
                  <a:pt x="840834" y="540676"/>
                  <a:pt x="843338" y="540676"/>
                  <a:pt x="845842" y="538234"/>
                </a:cubicBezTo>
                <a:cubicBezTo>
                  <a:pt x="849598" y="533349"/>
                  <a:pt x="853354" y="528464"/>
                  <a:pt x="857110" y="524801"/>
                </a:cubicBezTo>
                <a:cubicBezTo>
                  <a:pt x="860866" y="508926"/>
                  <a:pt x="862118" y="493051"/>
                  <a:pt x="862118" y="475954"/>
                </a:cubicBezTo>
                <a:close/>
                <a:moveTo>
                  <a:pt x="258900" y="475954"/>
                </a:moveTo>
                <a:cubicBezTo>
                  <a:pt x="258900" y="544644"/>
                  <a:pt x="267540" y="609587"/>
                  <a:pt x="282352" y="667036"/>
                </a:cubicBezTo>
                <a:cubicBezTo>
                  <a:pt x="330494" y="658294"/>
                  <a:pt x="378636" y="652050"/>
                  <a:pt x="428012" y="652050"/>
                </a:cubicBezTo>
                <a:lnTo>
                  <a:pt x="428012" y="475954"/>
                </a:lnTo>
                <a:close/>
                <a:moveTo>
                  <a:pt x="610234" y="256146"/>
                </a:moveTo>
                <a:cubicBezTo>
                  <a:pt x="562160" y="264945"/>
                  <a:pt x="512822" y="269973"/>
                  <a:pt x="462220" y="271231"/>
                </a:cubicBezTo>
                <a:lnTo>
                  <a:pt x="462220" y="447220"/>
                </a:lnTo>
                <a:lnTo>
                  <a:pt x="636800" y="447220"/>
                </a:lnTo>
                <a:cubicBezTo>
                  <a:pt x="634270" y="378081"/>
                  <a:pt x="625416" y="312714"/>
                  <a:pt x="610234" y="256146"/>
                </a:cubicBezTo>
                <a:close/>
                <a:moveTo>
                  <a:pt x="282352" y="256146"/>
                </a:moveTo>
                <a:cubicBezTo>
                  <a:pt x="267540" y="312714"/>
                  <a:pt x="258900" y="378081"/>
                  <a:pt x="258900" y="447220"/>
                </a:cubicBezTo>
                <a:lnTo>
                  <a:pt x="428012" y="447220"/>
                </a:lnTo>
                <a:lnTo>
                  <a:pt x="428012" y="271231"/>
                </a:lnTo>
                <a:cubicBezTo>
                  <a:pt x="378636" y="269973"/>
                  <a:pt x="330494" y="264945"/>
                  <a:pt x="282352" y="256146"/>
                </a:cubicBezTo>
                <a:close/>
                <a:moveTo>
                  <a:pt x="776440" y="201195"/>
                </a:moveTo>
                <a:cubicBezTo>
                  <a:pt x="734218" y="219794"/>
                  <a:pt x="690752" y="234673"/>
                  <a:pt x="643562" y="244593"/>
                </a:cubicBezTo>
                <a:cubicBezTo>
                  <a:pt x="658464" y="304110"/>
                  <a:pt x="667158" y="371066"/>
                  <a:pt x="668400" y="441743"/>
                </a:cubicBezTo>
                <a:lnTo>
                  <a:pt x="862128" y="441743"/>
                </a:lnTo>
                <a:cubicBezTo>
                  <a:pt x="858402" y="352467"/>
                  <a:pt x="827356" y="268151"/>
                  <a:pt x="776440" y="201195"/>
                </a:cubicBezTo>
                <a:close/>
                <a:moveTo>
                  <a:pt x="119282" y="201195"/>
                </a:moveTo>
                <a:cubicBezTo>
                  <a:pt x="68366" y="268151"/>
                  <a:pt x="36078" y="352467"/>
                  <a:pt x="33596" y="441743"/>
                </a:cubicBezTo>
                <a:lnTo>
                  <a:pt x="226082" y="441743"/>
                </a:lnTo>
                <a:cubicBezTo>
                  <a:pt x="228566" y="371066"/>
                  <a:pt x="237258" y="304110"/>
                  <a:pt x="252162" y="244593"/>
                </a:cubicBezTo>
                <a:cubicBezTo>
                  <a:pt x="204970" y="234673"/>
                  <a:pt x="160264" y="219794"/>
                  <a:pt x="119282" y="201195"/>
                </a:cubicBezTo>
                <a:close/>
                <a:moveTo>
                  <a:pt x="544652" y="47332"/>
                </a:moveTo>
                <a:cubicBezTo>
                  <a:pt x="581718" y="83278"/>
                  <a:pt x="612608" y="140296"/>
                  <a:pt x="633614" y="210948"/>
                </a:cubicBezTo>
                <a:cubicBezTo>
                  <a:pt x="674388" y="202272"/>
                  <a:pt x="715164" y="188637"/>
                  <a:pt x="752232" y="173763"/>
                </a:cubicBezTo>
                <a:cubicBezTo>
                  <a:pt x="697866" y="111787"/>
                  <a:pt x="626200" y="67164"/>
                  <a:pt x="544652" y="47332"/>
                </a:cubicBezTo>
                <a:close/>
                <a:moveTo>
                  <a:pt x="351056" y="47332"/>
                </a:moveTo>
                <a:cubicBezTo>
                  <a:pt x="267854" y="67164"/>
                  <a:pt x="194736" y="111787"/>
                  <a:pt x="138006" y="173763"/>
                </a:cubicBezTo>
                <a:cubicBezTo>
                  <a:pt x="177086" y="188637"/>
                  <a:pt x="217428" y="202272"/>
                  <a:pt x="260290" y="210948"/>
                </a:cubicBezTo>
                <a:cubicBezTo>
                  <a:pt x="281720" y="140296"/>
                  <a:pt x="313236" y="83278"/>
                  <a:pt x="351056" y="47332"/>
                </a:cubicBezTo>
                <a:close/>
                <a:moveTo>
                  <a:pt x="462220" y="36339"/>
                </a:moveTo>
                <a:lnTo>
                  <a:pt x="462220" y="232914"/>
                </a:lnTo>
                <a:cubicBezTo>
                  <a:pt x="508014" y="231662"/>
                  <a:pt x="553808" y="227905"/>
                  <a:pt x="598364" y="219141"/>
                </a:cubicBezTo>
                <a:cubicBezTo>
                  <a:pt x="567422" y="117723"/>
                  <a:pt x="516678" y="47607"/>
                  <a:pt x="462220" y="36339"/>
                </a:cubicBezTo>
                <a:close/>
                <a:moveTo>
                  <a:pt x="428024" y="36339"/>
                </a:moveTo>
                <a:cubicBezTo>
                  <a:pt x="372828" y="47607"/>
                  <a:pt x="323764" y="117723"/>
                  <a:pt x="291872" y="219141"/>
                </a:cubicBezTo>
                <a:cubicBezTo>
                  <a:pt x="337256" y="227905"/>
                  <a:pt x="381414" y="231662"/>
                  <a:pt x="428024" y="232914"/>
                </a:cubicBezTo>
                <a:close/>
                <a:moveTo>
                  <a:pt x="450190" y="0"/>
                </a:moveTo>
                <a:cubicBezTo>
                  <a:pt x="698356" y="0"/>
                  <a:pt x="900380" y="205352"/>
                  <a:pt x="900380" y="457996"/>
                </a:cubicBezTo>
                <a:cubicBezTo>
                  <a:pt x="900380" y="470442"/>
                  <a:pt x="900380" y="481643"/>
                  <a:pt x="899132" y="494088"/>
                </a:cubicBezTo>
                <a:cubicBezTo>
                  <a:pt x="940286" y="466708"/>
                  <a:pt x="991416" y="454262"/>
                  <a:pt x="1041298" y="460485"/>
                </a:cubicBezTo>
                <a:cubicBezTo>
                  <a:pt x="1129840" y="470442"/>
                  <a:pt x="1203416" y="537648"/>
                  <a:pt x="1223370" y="627255"/>
                </a:cubicBezTo>
                <a:cubicBezTo>
                  <a:pt x="1232098" y="662103"/>
                  <a:pt x="1230852" y="698195"/>
                  <a:pt x="1220876" y="733043"/>
                </a:cubicBezTo>
                <a:cubicBezTo>
                  <a:pt x="1220876" y="734287"/>
                  <a:pt x="1220876" y="734287"/>
                  <a:pt x="1220876" y="735532"/>
                </a:cubicBezTo>
                <a:cubicBezTo>
                  <a:pt x="1222122" y="735532"/>
                  <a:pt x="1222122" y="735532"/>
                  <a:pt x="1222122" y="735532"/>
                </a:cubicBezTo>
                <a:cubicBezTo>
                  <a:pt x="1298194" y="754200"/>
                  <a:pt x="1350570" y="821406"/>
                  <a:pt x="1350570" y="899813"/>
                </a:cubicBezTo>
                <a:cubicBezTo>
                  <a:pt x="1350570" y="993154"/>
                  <a:pt x="1275746" y="1070317"/>
                  <a:pt x="1184710" y="1070317"/>
                </a:cubicBezTo>
                <a:lnTo>
                  <a:pt x="551202" y="1070317"/>
                </a:lnTo>
                <a:cubicBezTo>
                  <a:pt x="463908" y="1070317"/>
                  <a:pt x="391578" y="999377"/>
                  <a:pt x="385342" y="911014"/>
                </a:cubicBezTo>
                <a:cubicBezTo>
                  <a:pt x="168354" y="879900"/>
                  <a:pt x="0" y="688239"/>
                  <a:pt x="0" y="457996"/>
                </a:cubicBezTo>
                <a:cubicBezTo>
                  <a:pt x="0" y="205352"/>
                  <a:pt x="202024" y="0"/>
                  <a:pt x="450190" y="0"/>
                </a:cubicBezTo>
                <a:close/>
              </a:path>
            </a:pathLst>
          </a:custGeom>
          <a:solidFill>
            <a:srgbClr val="FFFFFF"/>
          </a:solidFill>
          <a:ln>
            <a:noFill/>
          </a:ln>
          <a:effectLst/>
        </p:spPr>
        <p:txBody>
          <a:bodyPr wrap="square" anchor="ctr">
            <a:noAutofit/>
          </a:bodyPr>
          <a:lstStyle/>
          <a:p>
            <a:endParaRPr lang="en-US" sz="6532" dirty="0">
              <a:latin typeface="Poppins" pitchFamily="2" charset="77"/>
            </a:endParaRPr>
          </a:p>
        </p:txBody>
      </p:sp>
      <p:sp>
        <p:nvSpPr>
          <p:cNvPr id="35" name="Freeform 928">
            <a:extLst>
              <a:ext uri="{FF2B5EF4-FFF2-40B4-BE49-F238E27FC236}">
                <a16:creationId xmlns:a16="http://schemas.microsoft.com/office/drawing/2014/main" id="{4B75443E-0823-22B2-0344-62C4D22DC35F}"/>
              </a:ext>
            </a:extLst>
          </p:cNvPr>
          <p:cNvSpPr>
            <a:spLocks noChangeArrowheads="1"/>
          </p:cNvSpPr>
          <p:nvPr/>
        </p:nvSpPr>
        <p:spPr bwMode="auto">
          <a:xfrm>
            <a:off x="9969736" y="2873422"/>
            <a:ext cx="1342454" cy="1342454"/>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49" name="Title 1">
            <a:extLst>
              <a:ext uri="{FF2B5EF4-FFF2-40B4-BE49-F238E27FC236}">
                <a16:creationId xmlns:a16="http://schemas.microsoft.com/office/drawing/2014/main" id="{20034B4C-4CF0-D993-14A6-D0980BD397EE}"/>
              </a:ext>
            </a:extLst>
          </p:cNvPr>
          <p:cNvSpPr txBox="1">
            <a:spLocks/>
          </p:cNvSpPr>
          <p:nvPr/>
        </p:nvSpPr>
        <p:spPr>
          <a:xfrm>
            <a:off x="7618" y="6412"/>
            <a:ext cx="6945837"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nternet Connection Speeds 2021-2022</a:t>
            </a:r>
          </a:p>
        </p:txBody>
      </p:sp>
      <p:sp>
        <p:nvSpPr>
          <p:cNvPr id="56" name="TextBox 55">
            <a:extLst>
              <a:ext uri="{FF2B5EF4-FFF2-40B4-BE49-F238E27FC236}">
                <a16:creationId xmlns:a16="http://schemas.microsoft.com/office/drawing/2014/main" id="{A5582052-3826-BB82-1242-8EAAA1E97230}"/>
              </a:ext>
            </a:extLst>
          </p:cNvPr>
          <p:cNvSpPr txBox="1"/>
          <p:nvPr/>
        </p:nvSpPr>
        <p:spPr>
          <a:xfrm>
            <a:off x="462235" y="4964020"/>
            <a:ext cx="1879600" cy="369332"/>
          </a:xfrm>
          <a:prstGeom prst="rect">
            <a:avLst/>
          </a:prstGeom>
          <a:noFill/>
        </p:spPr>
        <p:txBody>
          <a:bodyPr wrap="square" lIns="0" tIns="0" rIns="0" bIns="0" rtlCol="0">
            <a:spAutoFit/>
          </a:bodyPr>
          <a:lstStyle/>
          <a:p>
            <a:pPr algn="ctr"/>
            <a:r>
              <a:rPr lang="en-US" sz="2400" b="1" dirty="0">
                <a:solidFill>
                  <a:schemeClr val="bg2"/>
                </a:solidFill>
              </a:rPr>
              <a:t>120.33</a:t>
            </a:r>
          </a:p>
        </p:txBody>
      </p:sp>
      <p:sp>
        <p:nvSpPr>
          <p:cNvPr id="57" name="TextBox 56">
            <a:extLst>
              <a:ext uri="{FF2B5EF4-FFF2-40B4-BE49-F238E27FC236}">
                <a16:creationId xmlns:a16="http://schemas.microsoft.com/office/drawing/2014/main" id="{FA7E4571-E89E-E96B-EA39-2C72016CA1B6}"/>
              </a:ext>
            </a:extLst>
          </p:cNvPr>
          <p:cNvSpPr txBox="1"/>
          <p:nvPr/>
        </p:nvSpPr>
        <p:spPr>
          <a:xfrm>
            <a:off x="531970" y="4964691"/>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Download Mean</a:t>
            </a:r>
          </a:p>
        </p:txBody>
      </p:sp>
      <p:sp>
        <p:nvSpPr>
          <p:cNvPr id="58" name="TextBox 57">
            <a:extLst>
              <a:ext uri="{FF2B5EF4-FFF2-40B4-BE49-F238E27FC236}">
                <a16:creationId xmlns:a16="http://schemas.microsoft.com/office/drawing/2014/main" id="{78E8B3A2-DBB0-99E5-585E-BF954F027E86}"/>
              </a:ext>
            </a:extLst>
          </p:cNvPr>
          <p:cNvSpPr txBox="1"/>
          <p:nvPr/>
        </p:nvSpPr>
        <p:spPr>
          <a:xfrm>
            <a:off x="408979" y="5559068"/>
            <a:ext cx="1879600" cy="369332"/>
          </a:xfrm>
          <a:prstGeom prst="rect">
            <a:avLst/>
          </a:prstGeom>
          <a:noFill/>
        </p:spPr>
        <p:txBody>
          <a:bodyPr wrap="square" lIns="0" tIns="0" rIns="0" bIns="0" rtlCol="0">
            <a:spAutoFit/>
          </a:bodyPr>
          <a:lstStyle/>
          <a:p>
            <a:pPr algn="ctr"/>
            <a:r>
              <a:rPr lang="en-US" sz="2400" b="1" dirty="0">
                <a:solidFill>
                  <a:schemeClr val="bg2"/>
                </a:solidFill>
              </a:rPr>
              <a:t>67.15</a:t>
            </a:r>
          </a:p>
        </p:txBody>
      </p:sp>
      <p:sp>
        <p:nvSpPr>
          <p:cNvPr id="59" name="TextBox 58">
            <a:extLst>
              <a:ext uri="{FF2B5EF4-FFF2-40B4-BE49-F238E27FC236}">
                <a16:creationId xmlns:a16="http://schemas.microsoft.com/office/drawing/2014/main" id="{111F5B6A-EFFC-DB25-826A-9DA36EE4101F}"/>
              </a:ext>
            </a:extLst>
          </p:cNvPr>
          <p:cNvSpPr txBox="1"/>
          <p:nvPr/>
        </p:nvSpPr>
        <p:spPr>
          <a:xfrm>
            <a:off x="531970" y="5576393"/>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Upload Mean</a:t>
            </a:r>
          </a:p>
        </p:txBody>
      </p:sp>
      <p:sp>
        <p:nvSpPr>
          <p:cNvPr id="60" name="TextBox 59">
            <a:extLst>
              <a:ext uri="{FF2B5EF4-FFF2-40B4-BE49-F238E27FC236}">
                <a16:creationId xmlns:a16="http://schemas.microsoft.com/office/drawing/2014/main" id="{233F0FF0-2C35-9EEB-2D53-FFF3AA1EC5D5}"/>
              </a:ext>
            </a:extLst>
          </p:cNvPr>
          <p:cNvSpPr txBox="1"/>
          <p:nvPr/>
        </p:nvSpPr>
        <p:spPr>
          <a:xfrm>
            <a:off x="485497" y="6208586"/>
            <a:ext cx="1879600" cy="369332"/>
          </a:xfrm>
          <a:prstGeom prst="rect">
            <a:avLst/>
          </a:prstGeom>
          <a:noFill/>
        </p:spPr>
        <p:txBody>
          <a:bodyPr wrap="square" lIns="0" tIns="0" rIns="0" bIns="0" rtlCol="0">
            <a:spAutoFit/>
          </a:bodyPr>
          <a:lstStyle/>
          <a:p>
            <a:pPr algn="ctr"/>
            <a:r>
              <a:rPr lang="en-US" sz="2400" b="1" dirty="0">
                <a:solidFill>
                  <a:schemeClr val="bg2"/>
                </a:solidFill>
              </a:rPr>
              <a:t>18</a:t>
            </a:r>
          </a:p>
        </p:txBody>
      </p:sp>
      <p:sp>
        <p:nvSpPr>
          <p:cNvPr id="61" name="TextBox 60">
            <a:extLst>
              <a:ext uri="{FF2B5EF4-FFF2-40B4-BE49-F238E27FC236}">
                <a16:creationId xmlns:a16="http://schemas.microsoft.com/office/drawing/2014/main" id="{A5972677-C1A4-5F19-197B-D634037AE22E}"/>
              </a:ext>
            </a:extLst>
          </p:cNvPr>
          <p:cNvSpPr txBox="1"/>
          <p:nvPr/>
        </p:nvSpPr>
        <p:spPr>
          <a:xfrm>
            <a:off x="531970" y="6201862"/>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Latency Mean</a:t>
            </a:r>
          </a:p>
        </p:txBody>
      </p:sp>
      <p:sp>
        <p:nvSpPr>
          <p:cNvPr id="80" name="TextBox 79">
            <a:extLst>
              <a:ext uri="{FF2B5EF4-FFF2-40B4-BE49-F238E27FC236}">
                <a16:creationId xmlns:a16="http://schemas.microsoft.com/office/drawing/2014/main" id="{E446E425-922D-B14D-897F-C271AEA4738C}"/>
              </a:ext>
            </a:extLst>
          </p:cNvPr>
          <p:cNvSpPr txBox="1"/>
          <p:nvPr/>
        </p:nvSpPr>
        <p:spPr>
          <a:xfrm>
            <a:off x="2986550" y="4964020"/>
            <a:ext cx="1879600" cy="369332"/>
          </a:xfrm>
          <a:prstGeom prst="rect">
            <a:avLst/>
          </a:prstGeom>
          <a:noFill/>
        </p:spPr>
        <p:txBody>
          <a:bodyPr wrap="square" lIns="0" tIns="0" rIns="0" bIns="0" rtlCol="0">
            <a:spAutoFit/>
          </a:bodyPr>
          <a:lstStyle/>
          <a:p>
            <a:pPr algn="ctr"/>
            <a:r>
              <a:rPr lang="en-US" sz="2400" b="1" dirty="0">
                <a:solidFill>
                  <a:schemeClr val="accent6">
                    <a:lumMod val="75000"/>
                  </a:schemeClr>
                </a:solidFill>
              </a:rPr>
              <a:t>+31.4%</a:t>
            </a:r>
          </a:p>
        </p:txBody>
      </p:sp>
      <p:sp>
        <p:nvSpPr>
          <p:cNvPr id="82" name="TextBox 81">
            <a:extLst>
              <a:ext uri="{FF2B5EF4-FFF2-40B4-BE49-F238E27FC236}">
                <a16:creationId xmlns:a16="http://schemas.microsoft.com/office/drawing/2014/main" id="{BD538E77-9A6A-3790-153C-2611ADE6D15D}"/>
              </a:ext>
            </a:extLst>
          </p:cNvPr>
          <p:cNvSpPr txBox="1"/>
          <p:nvPr/>
        </p:nvSpPr>
        <p:spPr>
          <a:xfrm>
            <a:off x="2986550" y="5559068"/>
            <a:ext cx="1879600" cy="369332"/>
          </a:xfrm>
          <a:prstGeom prst="rect">
            <a:avLst/>
          </a:prstGeom>
          <a:noFill/>
        </p:spPr>
        <p:txBody>
          <a:bodyPr wrap="square" lIns="0" tIns="0" rIns="0" bIns="0" rtlCol="0">
            <a:spAutoFit/>
          </a:bodyPr>
          <a:lstStyle/>
          <a:p>
            <a:pPr algn="ctr"/>
            <a:r>
              <a:rPr lang="en-US" sz="2400" b="1" dirty="0">
                <a:solidFill>
                  <a:schemeClr val="accent6">
                    <a:lumMod val="75000"/>
                  </a:schemeClr>
                </a:solidFill>
              </a:rPr>
              <a:t>+36.7%</a:t>
            </a:r>
          </a:p>
        </p:txBody>
      </p:sp>
      <p:sp>
        <p:nvSpPr>
          <p:cNvPr id="84" name="TextBox 83">
            <a:extLst>
              <a:ext uri="{FF2B5EF4-FFF2-40B4-BE49-F238E27FC236}">
                <a16:creationId xmlns:a16="http://schemas.microsoft.com/office/drawing/2014/main" id="{E3277740-BD80-AD13-2501-EFADA86A1EB9}"/>
              </a:ext>
            </a:extLst>
          </p:cNvPr>
          <p:cNvSpPr txBox="1"/>
          <p:nvPr/>
        </p:nvSpPr>
        <p:spPr>
          <a:xfrm>
            <a:off x="3009812" y="6208586"/>
            <a:ext cx="1879600" cy="369332"/>
          </a:xfrm>
          <a:prstGeom prst="rect">
            <a:avLst/>
          </a:prstGeom>
          <a:noFill/>
        </p:spPr>
        <p:txBody>
          <a:bodyPr wrap="square" lIns="0" tIns="0" rIns="0" bIns="0" rtlCol="0">
            <a:spAutoFit/>
          </a:bodyPr>
          <a:lstStyle/>
          <a:p>
            <a:pPr algn="ctr"/>
            <a:r>
              <a:rPr lang="en-US" sz="2400" b="1" dirty="0">
                <a:solidFill>
                  <a:schemeClr val="accent6">
                    <a:lumMod val="75000"/>
                  </a:schemeClr>
                </a:solidFill>
              </a:rPr>
              <a:t>-14.3%</a:t>
            </a:r>
          </a:p>
        </p:txBody>
      </p:sp>
      <p:sp>
        <p:nvSpPr>
          <p:cNvPr id="92" name="TextBox 91">
            <a:extLst>
              <a:ext uri="{FF2B5EF4-FFF2-40B4-BE49-F238E27FC236}">
                <a16:creationId xmlns:a16="http://schemas.microsoft.com/office/drawing/2014/main" id="{28403094-0576-D630-504F-9D65FD2812A4}"/>
              </a:ext>
            </a:extLst>
          </p:cNvPr>
          <p:cNvSpPr txBox="1"/>
          <p:nvPr/>
        </p:nvSpPr>
        <p:spPr>
          <a:xfrm>
            <a:off x="7233371" y="4964020"/>
            <a:ext cx="1879600" cy="369332"/>
          </a:xfrm>
          <a:prstGeom prst="rect">
            <a:avLst/>
          </a:prstGeom>
          <a:noFill/>
        </p:spPr>
        <p:txBody>
          <a:bodyPr wrap="square" lIns="0" tIns="0" rIns="0" bIns="0" rtlCol="0">
            <a:spAutoFit/>
          </a:bodyPr>
          <a:lstStyle/>
          <a:p>
            <a:pPr algn="ctr"/>
            <a:r>
              <a:rPr lang="en-US" sz="2400" b="1" dirty="0">
                <a:solidFill>
                  <a:schemeClr val="bg1">
                    <a:lumMod val="65000"/>
                  </a:schemeClr>
                </a:solidFill>
              </a:rPr>
              <a:t>69.92</a:t>
            </a:r>
          </a:p>
        </p:txBody>
      </p:sp>
      <p:sp>
        <p:nvSpPr>
          <p:cNvPr id="94" name="TextBox 93">
            <a:extLst>
              <a:ext uri="{FF2B5EF4-FFF2-40B4-BE49-F238E27FC236}">
                <a16:creationId xmlns:a16="http://schemas.microsoft.com/office/drawing/2014/main" id="{30C182F5-4C97-32DC-2F08-B8E7B5AF794D}"/>
              </a:ext>
            </a:extLst>
          </p:cNvPr>
          <p:cNvSpPr txBox="1"/>
          <p:nvPr/>
        </p:nvSpPr>
        <p:spPr>
          <a:xfrm>
            <a:off x="7180115" y="5559068"/>
            <a:ext cx="1879600" cy="369332"/>
          </a:xfrm>
          <a:prstGeom prst="rect">
            <a:avLst/>
          </a:prstGeom>
          <a:noFill/>
        </p:spPr>
        <p:txBody>
          <a:bodyPr wrap="square" lIns="0" tIns="0" rIns="0" bIns="0" rtlCol="0">
            <a:spAutoFit/>
          </a:bodyPr>
          <a:lstStyle/>
          <a:p>
            <a:pPr algn="ctr"/>
            <a:r>
              <a:rPr lang="en-US" sz="2400" b="1" dirty="0">
                <a:solidFill>
                  <a:schemeClr val="bg1">
                    <a:lumMod val="65000"/>
                  </a:schemeClr>
                </a:solidFill>
              </a:rPr>
              <a:t>14.01</a:t>
            </a:r>
          </a:p>
        </p:txBody>
      </p:sp>
      <p:sp>
        <p:nvSpPr>
          <p:cNvPr id="96" name="TextBox 95">
            <a:extLst>
              <a:ext uri="{FF2B5EF4-FFF2-40B4-BE49-F238E27FC236}">
                <a16:creationId xmlns:a16="http://schemas.microsoft.com/office/drawing/2014/main" id="{02CBB6CA-829F-745A-446E-0A877A6E33EF}"/>
              </a:ext>
            </a:extLst>
          </p:cNvPr>
          <p:cNvSpPr txBox="1"/>
          <p:nvPr/>
        </p:nvSpPr>
        <p:spPr>
          <a:xfrm>
            <a:off x="7256633" y="6208586"/>
            <a:ext cx="1879600" cy="369332"/>
          </a:xfrm>
          <a:prstGeom prst="rect">
            <a:avLst/>
          </a:prstGeom>
          <a:noFill/>
        </p:spPr>
        <p:txBody>
          <a:bodyPr wrap="square" lIns="0" tIns="0" rIns="0" bIns="0" rtlCol="0">
            <a:spAutoFit/>
          </a:bodyPr>
          <a:lstStyle/>
          <a:p>
            <a:pPr algn="ctr"/>
            <a:r>
              <a:rPr lang="en-US" sz="2400" b="1" dirty="0">
                <a:solidFill>
                  <a:schemeClr val="bg1">
                    <a:lumMod val="65000"/>
                  </a:schemeClr>
                </a:solidFill>
              </a:rPr>
              <a:t>36</a:t>
            </a:r>
          </a:p>
        </p:txBody>
      </p:sp>
      <p:sp>
        <p:nvSpPr>
          <p:cNvPr id="104" name="TextBox 103">
            <a:extLst>
              <a:ext uri="{FF2B5EF4-FFF2-40B4-BE49-F238E27FC236}">
                <a16:creationId xmlns:a16="http://schemas.microsoft.com/office/drawing/2014/main" id="{1185B858-5DC9-59F4-927D-D8914999B761}"/>
              </a:ext>
            </a:extLst>
          </p:cNvPr>
          <p:cNvSpPr txBox="1"/>
          <p:nvPr/>
        </p:nvSpPr>
        <p:spPr>
          <a:xfrm>
            <a:off x="9776824" y="4964020"/>
            <a:ext cx="1879600" cy="369332"/>
          </a:xfrm>
          <a:prstGeom prst="rect">
            <a:avLst/>
          </a:prstGeom>
          <a:noFill/>
        </p:spPr>
        <p:txBody>
          <a:bodyPr wrap="square" lIns="0" tIns="0" rIns="0" bIns="0" rtlCol="0">
            <a:spAutoFit/>
          </a:bodyPr>
          <a:lstStyle/>
          <a:p>
            <a:pPr algn="ctr"/>
            <a:r>
              <a:rPr lang="en-US" sz="2400" b="1" dirty="0">
                <a:solidFill>
                  <a:schemeClr val="accent4"/>
                </a:solidFill>
              </a:rPr>
              <a:t>+53.0%</a:t>
            </a:r>
          </a:p>
        </p:txBody>
      </p:sp>
      <p:sp>
        <p:nvSpPr>
          <p:cNvPr id="106" name="TextBox 105">
            <a:extLst>
              <a:ext uri="{FF2B5EF4-FFF2-40B4-BE49-F238E27FC236}">
                <a16:creationId xmlns:a16="http://schemas.microsoft.com/office/drawing/2014/main" id="{4A6E1C9F-4F25-EBAE-CBBE-05E72A52D8FA}"/>
              </a:ext>
            </a:extLst>
          </p:cNvPr>
          <p:cNvSpPr txBox="1"/>
          <p:nvPr/>
        </p:nvSpPr>
        <p:spPr>
          <a:xfrm>
            <a:off x="9776824" y="5559068"/>
            <a:ext cx="1879600" cy="369332"/>
          </a:xfrm>
          <a:prstGeom prst="rect">
            <a:avLst/>
          </a:prstGeom>
          <a:noFill/>
        </p:spPr>
        <p:txBody>
          <a:bodyPr wrap="square" lIns="0" tIns="0" rIns="0" bIns="0" rtlCol="0">
            <a:spAutoFit/>
          </a:bodyPr>
          <a:lstStyle/>
          <a:p>
            <a:pPr algn="ctr"/>
            <a:r>
              <a:rPr lang="en-US" sz="2400" b="1" dirty="0">
                <a:solidFill>
                  <a:schemeClr val="accent4"/>
                </a:solidFill>
              </a:rPr>
              <a:t>+11.2%</a:t>
            </a:r>
          </a:p>
        </p:txBody>
      </p:sp>
      <p:sp>
        <p:nvSpPr>
          <p:cNvPr id="108" name="TextBox 107">
            <a:extLst>
              <a:ext uri="{FF2B5EF4-FFF2-40B4-BE49-F238E27FC236}">
                <a16:creationId xmlns:a16="http://schemas.microsoft.com/office/drawing/2014/main" id="{AFCA35EB-89BF-E891-10C4-6F369407FEA5}"/>
              </a:ext>
            </a:extLst>
          </p:cNvPr>
          <p:cNvSpPr txBox="1"/>
          <p:nvPr/>
        </p:nvSpPr>
        <p:spPr>
          <a:xfrm>
            <a:off x="9800086" y="6208586"/>
            <a:ext cx="1879600" cy="369332"/>
          </a:xfrm>
          <a:prstGeom prst="rect">
            <a:avLst/>
          </a:prstGeom>
          <a:noFill/>
        </p:spPr>
        <p:txBody>
          <a:bodyPr wrap="square" lIns="0" tIns="0" rIns="0" bIns="0" rtlCol="0">
            <a:spAutoFit/>
          </a:bodyPr>
          <a:lstStyle/>
          <a:p>
            <a:pPr algn="ctr"/>
            <a:r>
              <a:rPr lang="en-US" sz="2400" b="1" dirty="0">
                <a:solidFill>
                  <a:schemeClr val="accent4"/>
                </a:solidFill>
              </a:rPr>
              <a:t>0%</a:t>
            </a:r>
          </a:p>
        </p:txBody>
      </p:sp>
      <p:sp>
        <p:nvSpPr>
          <p:cNvPr id="110" name="TextBox 109">
            <a:extLst>
              <a:ext uri="{FF2B5EF4-FFF2-40B4-BE49-F238E27FC236}">
                <a16:creationId xmlns:a16="http://schemas.microsoft.com/office/drawing/2014/main" id="{3871237F-F1FE-644C-C799-9404C9351ED3}"/>
              </a:ext>
            </a:extLst>
          </p:cNvPr>
          <p:cNvSpPr txBox="1"/>
          <p:nvPr/>
        </p:nvSpPr>
        <p:spPr>
          <a:xfrm>
            <a:off x="2960725" y="1201309"/>
            <a:ext cx="1741331" cy="996170"/>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YoY Change in Average Speed of Fixed Internet Connections</a:t>
            </a:r>
          </a:p>
        </p:txBody>
      </p:sp>
      <p:sp>
        <p:nvSpPr>
          <p:cNvPr id="111" name="TextBox 110">
            <a:extLst>
              <a:ext uri="{FF2B5EF4-FFF2-40B4-BE49-F238E27FC236}">
                <a16:creationId xmlns:a16="http://schemas.microsoft.com/office/drawing/2014/main" id="{BCAD687F-9220-65B8-0A14-47B12B563D9E}"/>
              </a:ext>
            </a:extLst>
          </p:cNvPr>
          <p:cNvSpPr txBox="1"/>
          <p:nvPr/>
        </p:nvSpPr>
        <p:spPr>
          <a:xfrm>
            <a:off x="7113199" y="1315411"/>
            <a:ext cx="1879600" cy="767967"/>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Average Speed of Mobile Internet Connections</a:t>
            </a:r>
          </a:p>
        </p:txBody>
      </p:sp>
      <p:sp>
        <p:nvSpPr>
          <p:cNvPr id="112" name="TextBox 111">
            <a:extLst>
              <a:ext uri="{FF2B5EF4-FFF2-40B4-BE49-F238E27FC236}">
                <a16:creationId xmlns:a16="http://schemas.microsoft.com/office/drawing/2014/main" id="{BC9EBCB8-D2F5-CD42-E896-EF9212DADAF5}"/>
              </a:ext>
            </a:extLst>
          </p:cNvPr>
          <p:cNvSpPr txBox="1"/>
          <p:nvPr/>
        </p:nvSpPr>
        <p:spPr>
          <a:xfrm>
            <a:off x="9541954" y="1199994"/>
            <a:ext cx="1879600" cy="998800"/>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YoY Change in Average Speed of Mobile Internet Connections</a:t>
            </a:r>
          </a:p>
        </p:txBody>
      </p:sp>
      <p:cxnSp>
        <p:nvCxnSpPr>
          <p:cNvPr id="113" name="Straight Connector 112">
            <a:extLst>
              <a:ext uri="{FF2B5EF4-FFF2-40B4-BE49-F238E27FC236}">
                <a16:creationId xmlns:a16="http://schemas.microsoft.com/office/drawing/2014/main" id="{C29E2C35-A2DE-9E94-7216-B50F5F54DCFC}"/>
              </a:ext>
            </a:extLst>
          </p:cNvPr>
          <p:cNvCxnSpPr>
            <a:cxnSpLocks/>
          </p:cNvCxnSpPr>
          <p:nvPr/>
        </p:nvCxnSpPr>
        <p:spPr>
          <a:xfrm>
            <a:off x="6283325" y="958239"/>
            <a:ext cx="0" cy="5547296"/>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6B47F1B-4B3A-775D-BA2B-37A81D813D26}"/>
              </a:ext>
            </a:extLst>
          </p:cNvPr>
          <p:cNvSpPr txBox="1"/>
          <p:nvPr/>
        </p:nvSpPr>
        <p:spPr>
          <a:xfrm>
            <a:off x="7213089" y="4964691"/>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Download Mean</a:t>
            </a:r>
          </a:p>
        </p:txBody>
      </p:sp>
      <p:sp>
        <p:nvSpPr>
          <p:cNvPr id="3" name="TextBox 2">
            <a:extLst>
              <a:ext uri="{FF2B5EF4-FFF2-40B4-BE49-F238E27FC236}">
                <a16:creationId xmlns:a16="http://schemas.microsoft.com/office/drawing/2014/main" id="{2AD4D5E3-650C-349B-81F3-252E632D205E}"/>
              </a:ext>
            </a:extLst>
          </p:cNvPr>
          <p:cNvSpPr txBox="1"/>
          <p:nvPr/>
        </p:nvSpPr>
        <p:spPr>
          <a:xfrm>
            <a:off x="7256633" y="5576393"/>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Upload Mean</a:t>
            </a:r>
          </a:p>
        </p:txBody>
      </p:sp>
      <p:sp>
        <p:nvSpPr>
          <p:cNvPr id="5" name="TextBox 4">
            <a:extLst>
              <a:ext uri="{FF2B5EF4-FFF2-40B4-BE49-F238E27FC236}">
                <a16:creationId xmlns:a16="http://schemas.microsoft.com/office/drawing/2014/main" id="{42F86D76-17B6-F044-C779-092A8ED489BD}"/>
              </a:ext>
            </a:extLst>
          </p:cNvPr>
          <p:cNvSpPr txBox="1"/>
          <p:nvPr/>
        </p:nvSpPr>
        <p:spPr>
          <a:xfrm>
            <a:off x="7256633" y="6201862"/>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Latency Mean</a:t>
            </a:r>
          </a:p>
        </p:txBody>
      </p:sp>
      <p:sp>
        <p:nvSpPr>
          <p:cNvPr id="8" name="Footer Placeholder 7">
            <a:extLst>
              <a:ext uri="{FF2B5EF4-FFF2-40B4-BE49-F238E27FC236}">
                <a16:creationId xmlns:a16="http://schemas.microsoft.com/office/drawing/2014/main" id="{38E2C65C-012E-71D5-E612-00FF6F67FEEF}"/>
              </a:ext>
            </a:extLst>
          </p:cNvPr>
          <p:cNvSpPr>
            <a:spLocks noGrp="1"/>
          </p:cNvSpPr>
          <p:nvPr>
            <p:ph type="ftr" sz="quarter" idx="3"/>
          </p:nvPr>
        </p:nvSpPr>
        <p:spPr/>
        <p:txBody>
          <a:bodyPr/>
          <a:lstStyle/>
          <a:p>
            <a:r>
              <a:rPr lang="en-US" dirty="0"/>
              <a:t>LIBERTY LATIN AMERICA | CANTO 2022 | JULY 18</a:t>
            </a:r>
          </a:p>
        </p:txBody>
      </p:sp>
      <p:sp>
        <p:nvSpPr>
          <p:cNvPr id="9" name="Slide Number Placeholder 8">
            <a:extLst>
              <a:ext uri="{FF2B5EF4-FFF2-40B4-BE49-F238E27FC236}">
                <a16:creationId xmlns:a16="http://schemas.microsoft.com/office/drawing/2014/main" id="{4EF41D0B-60EF-2C5A-A2F0-CC1561ACBF9E}"/>
              </a:ext>
            </a:extLst>
          </p:cNvPr>
          <p:cNvSpPr>
            <a:spLocks noGrp="1"/>
          </p:cNvSpPr>
          <p:nvPr>
            <p:ph type="sldNum" sz="quarter" idx="4"/>
          </p:nvPr>
        </p:nvSpPr>
        <p:spPr/>
        <p:txBody>
          <a:bodyPr/>
          <a:lstStyle/>
          <a:p>
            <a:fld id="{496097A3-845D-4C79-9B10-713A18711759}" type="slidenum">
              <a:rPr lang="en-US" smtClean="0"/>
              <a:pPr/>
              <a:t>13</a:t>
            </a:fld>
            <a:endParaRPr lang="en-US"/>
          </a:p>
        </p:txBody>
      </p:sp>
      <p:sp>
        <p:nvSpPr>
          <p:cNvPr id="40" name="TextBox 39">
            <a:extLst>
              <a:ext uri="{FF2B5EF4-FFF2-40B4-BE49-F238E27FC236}">
                <a16:creationId xmlns:a16="http://schemas.microsoft.com/office/drawing/2014/main" id="{FC30E622-DB97-1EA1-E861-C5012109F677}"/>
              </a:ext>
            </a:extLst>
          </p:cNvPr>
          <p:cNvSpPr txBox="1"/>
          <p:nvPr/>
        </p:nvSpPr>
        <p:spPr>
          <a:xfrm>
            <a:off x="4038097" y="6563039"/>
            <a:ext cx="7778633" cy="261610"/>
          </a:xfrm>
          <a:prstGeom prst="rect">
            <a:avLst/>
          </a:prstGeom>
          <a:noFill/>
        </p:spPr>
        <p:txBody>
          <a:bodyPr wrap="square">
            <a:spAutoFit/>
          </a:bodyPr>
          <a:lstStyle/>
          <a:p>
            <a:r>
              <a:rPr lang="en-US" sz="1100" dirty="0"/>
              <a:t>SOURCE: Digital 2022 Global Overview Report - https://datareportal.com/reports/digital-2022-global-overview-report</a:t>
            </a:r>
          </a:p>
        </p:txBody>
      </p:sp>
    </p:spTree>
    <p:extLst>
      <p:ext uri="{BB962C8B-B14F-4D97-AF65-F5344CB8AC3E}">
        <p14:creationId xmlns:p14="http://schemas.microsoft.com/office/powerpoint/2010/main" val="1140092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E785D-E5E6-1432-650B-DE35293B10D9}"/>
              </a:ext>
            </a:extLst>
          </p:cNvPr>
          <p:cNvGraphicFramePr>
            <a:graphicFrameLocks noChangeAspect="1"/>
          </p:cNvGraphicFramePr>
          <p:nvPr>
            <p:custDataLst>
              <p:tags r:id="rId1"/>
            </p:custDataLst>
            <p:extLst>
              <p:ext uri="{D42A27DB-BD31-4B8C-83A1-F6EECF244321}">
                <p14:modId xmlns:p14="http://schemas.microsoft.com/office/powerpoint/2010/main" val="2299726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2C1E785D-E5E6-1432-650B-DE35293B10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244" name="Picture 4" descr="COVID-19: ¿Cómo abordar la 'nueva enseñanza' si la mitad de los estudiantes  no tiene internet ni ordenador?">
            <a:extLst>
              <a:ext uri="{FF2B5EF4-FFF2-40B4-BE49-F238E27FC236}">
                <a16:creationId xmlns:a16="http://schemas.microsoft.com/office/drawing/2014/main" id="{16E50654-4FE1-B32E-1A35-4AC4197F35D8}"/>
              </a:ext>
            </a:extLst>
          </p:cNvPr>
          <p:cNvPicPr>
            <a:picLocks noChangeAspect="1" noChangeArrowheads="1"/>
          </p:cNvPicPr>
          <p:nvPr/>
        </p:nvPicPr>
        <p:blipFill>
          <a:blip r:embed="rId6">
            <a:alphaModFix amt="79000"/>
            <a:extLst>
              <a:ext uri="{28A0092B-C50C-407E-A947-70E740481C1C}">
                <a14:useLocalDpi xmlns:a14="http://schemas.microsoft.com/office/drawing/2010/main"/>
              </a:ext>
            </a:extLst>
          </a:blip>
          <a:srcRect/>
          <a:stretch>
            <a:fillRect/>
          </a:stretch>
        </p:blipFill>
        <p:spPr bwMode="auto">
          <a:xfrm>
            <a:off x="-114300" y="0"/>
            <a:ext cx="12306300" cy="6888778"/>
          </a:xfrm>
          <a:prstGeom prst="rect">
            <a:avLst/>
          </a:prstGeom>
          <a:noFill/>
          <a:extLst>
            <a:ext uri="{909E8E84-426E-40DD-AFC4-6F175D3DCCD1}">
              <a14:hiddenFill xmlns:a14="http://schemas.microsoft.com/office/drawing/2010/main">
                <a:solidFill>
                  <a:srgbClr val="FFFFFF"/>
                </a:solidFill>
              </a14:hiddenFill>
            </a:ext>
          </a:extLst>
        </p:spPr>
      </p:pic>
      <p:sp>
        <p:nvSpPr>
          <p:cNvPr id="32" name="Title 1">
            <a:extLst>
              <a:ext uri="{FF2B5EF4-FFF2-40B4-BE49-F238E27FC236}">
                <a16:creationId xmlns:a16="http://schemas.microsoft.com/office/drawing/2014/main" id="{5BD8E0E2-A1FA-F93A-73D9-4ED2F635CA6A}"/>
              </a:ext>
            </a:extLst>
          </p:cNvPr>
          <p:cNvSpPr txBox="1">
            <a:spLocks/>
          </p:cNvSpPr>
          <p:nvPr/>
        </p:nvSpPr>
        <p:spPr>
          <a:xfrm>
            <a:off x="96518" y="0"/>
            <a:ext cx="10805030"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The pandemic changed our network requirements</a:t>
            </a:r>
          </a:p>
        </p:txBody>
      </p:sp>
      <p:sp>
        <p:nvSpPr>
          <p:cNvPr id="4" name="Footer Placeholder 3">
            <a:extLst>
              <a:ext uri="{FF2B5EF4-FFF2-40B4-BE49-F238E27FC236}">
                <a16:creationId xmlns:a16="http://schemas.microsoft.com/office/drawing/2014/main" id="{DC6AC806-D1C3-B6A1-36C8-46D125615878}"/>
              </a:ext>
            </a:extLst>
          </p:cNvPr>
          <p:cNvSpPr>
            <a:spLocks noGrp="1"/>
          </p:cNvSpPr>
          <p:nvPr>
            <p:ph type="ftr" sz="quarter" idx="3"/>
          </p:nvPr>
        </p:nvSpPr>
        <p:spPr/>
        <p:txBody>
          <a:bodyPr/>
          <a:lstStyle/>
          <a:p>
            <a:r>
              <a:rPr lang="en-US">
                <a:solidFill>
                  <a:srgbClr val="FFFFFF"/>
                </a:solidFill>
              </a:rPr>
              <a:t>LIBERTY LATIN AMERICA | CANTO 2022 | JULY 18</a:t>
            </a:r>
          </a:p>
        </p:txBody>
      </p:sp>
      <p:sp>
        <p:nvSpPr>
          <p:cNvPr id="5" name="Slide Number Placeholder 4">
            <a:extLst>
              <a:ext uri="{FF2B5EF4-FFF2-40B4-BE49-F238E27FC236}">
                <a16:creationId xmlns:a16="http://schemas.microsoft.com/office/drawing/2014/main" id="{23C9A05A-EC39-B2A4-D3EF-FA8F82681A6D}"/>
              </a:ext>
            </a:extLst>
          </p:cNvPr>
          <p:cNvSpPr>
            <a:spLocks noGrp="1"/>
          </p:cNvSpPr>
          <p:nvPr>
            <p:ph type="sldNum" sz="quarter" idx="4"/>
          </p:nvPr>
        </p:nvSpPr>
        <p:spPr/>
        <p:txBody>
          <a:bodyPr/>
          <a:lstStyle/>
          <a:p>
            <a:fld id="{496097A3-845D-4C79-9B10-713A18711759}" type="slidenum">
              <a:rPr lang="en-US" smtClean="0">
                <a:solidFill>
                  <a:schemeClr val="bg1"/>
                </a:solidFill>
              </a:rPr>
              <a:pPr/>
              <a:t>14</a:t>
            </a:fld>
            <a:endParaRPr lang="en-US" dirty="0">
              <a:solidFill>
                <a:schemeClr val="bg1"/>
              </a:solidFill>
            </a:endParaRPr>
          </a:p>
        </p:txBody>
      </p:sp>
    </p:spTree>
    <p:extLst>
      <p:ext uri="{BB962C8B-B14F-4D97-AF65-F5344CB8AC3E}">
        <p14:creationId xmlns:p14="http://schemas.microsoft.com/office/powerpoint/2010/main" val="15448993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E785D-E5E6-1432-650B-DE35293B10D9}"/>
              </a:ext>
            </a:extLst>
          </p:cNvPr>
          <p:cNvGraphicFramePr>
            <a:graphicFrameLocks noChangeAspect="1"/>
          </p:cNvGraphicFramePr>
          <p:nvPr>
            <p:custDataLst>
              <p:tags r:id="rId1"/>
            </p:custDataLst>
            <p:extLst>
              <p:ext uri="{D42A27DB-BD31-4B8C-83A1-F6EECF244321}">
                <p14:modId xmlns:p14="http://schemas.microsoft.com/office/powerpoint/2010/main" val="33292493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2C1E785D-E5E6-1432-650B-DE35293B10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7410" name="Picture 2" descr="Occupational safety and health in teleworking: Crucial changes needed to  protect workers' health while teleworking">
            <a:extLst>
              <a:ext uri="{FF2B5EF4-FFF2-40B4-BE49-F238E27FC236}">
                <a16:creationId xmlns:a16="http://schemas.microsoft.com/office/drawing/2014/main" id="{CB2DCFF9-4385-8017-C5DA-FFADE79A1A94}"/>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71930" y="454031"/>
            <a:ext cx="4622800" cy="2588768"/>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Northwell earns care delivery award for telehealth services | Northwell  Health">
            <a:extLst>
              <a:ext uri="{FF2B5EF4-FFF2-40B4-BE49-F238E27FC236}">
                <a16:creationId xmlns:a16="http://schemas.microsoft.com/office/drawing/2014/main" id="{0B8AC791-EFE3-C9AE-0852-79BB06CA9AC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1930" y="3309999"/>
            <a:ext cx="4622800" cy="2588768"/>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E-learning: aprende a utilizarlo para crecer profesionalmente">
            <a:extLst>
              <a:ext uri="{FF2B5EF4-FFF2-40B4-BE49-F238E27FC236}">
                <a16:creationId xmlns:a16="http://schemas.microsoft.com/office/drawing/2014/main" id="{36AC3D00-AD4A-A1A9-81CF-63FDC4027C2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444130" y="3309999"/>
            <a:ext cx="4622800" cy="2588768"/>
          </a:xfrm>
          <a:prstGeom prst="rect">
            <a:avLst/>
          </a:prstGeom>
          <a:noFill/>
          <a:extLst>
            <a:ext uri="{909E8E84-426E-40DD-AFC4-6F175D3DCCD1}">
              <a14:hiddenFill xmlns:a14="http://schemas.microsoft.com/office/drawing/2010/main">
                <a:solidFill>
                  <a:srgbClr val="FFFFFF"/>
                </a:solidFill>
              </a14:hiddenFill>
            </a:ext>
          </a:extLst>
        </p:spPr>
      </p:pic>
      <p:pic>
        <p:nvPicPr>
          <p:cNvPr id="17420" name="Picture 12" descr="UX writing for e-commerce prices • UX Content Collective">
            <a:extLst>
              <a:ext uri="{FF2B5EF4-FFF2-40B4-BE49-F238E27FC236}">
                <a16:creationId xmlns:a16="http://schemas.microsoft.com/office/drawing/2014/main" id="{090961A5-5014-4D1E-F062-204F6794CCB9}"/>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444130" y="454031"/>
            <a:ext cx="4622800" cy="2588768"/>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7074D0BB-4E7E-4109-1D83-3D6DC67CEA49}"/>
              </a:ext>
            </a:extLst>
          </p:cNvPr>
          <p:cNvSpPr txBox="1">
            <a:spLocks/>
          </p:cNvSpPr>
          <p:nvPr/>
        </p:nvSpPr>
        <p:spPr>
          <a:xfrm>
            <a:off x="7618" y="6412"/>
            <a:ext cx="113461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We experienced an increase in traffic and new demands</a:t>
            </a:r>
          </a:p>
        </p:txBody>
      </p:sp>
      <p:sp>
        <p:nvSpPr>
          <p:cNvPr id="13" name="TextBox 12">
            <a:extLst>
              <a:ext uri="{FF2B5EF4-FFF2-40B4-BE49-F238E27FC236}">
                <a16:creationId xmlns:a16="http://schemas.microsoft.com/office/drawing/2014/main" id="{547E07DD-7733-7E86-D371-6586D1A6935E}"/>
              </a:ext>
            </a:extLst>
          </p:cNvPr>
          <p:cNvSpPr txBox="1"/>
          <p:nvPr/>
        </p:nvSpPr>
        <p:spPr>
          <a:xfrm>
            <a:off x="1567330" y="2980859"/>
            <a:ext cx="1435100" cy="369332"/>
          </a:xfrm>
          <a:prstGeom prst="rect">
            <a:avLst/>
          </a:prstGeom>
          <a:noFill/>
        </p:spPr>
        <p:txBody>
          <a:bodyPr wrap="square">
            <a:spAutoFit/>
          </a:bodyPr>
          <a:lstStyle/>
          <a:p>
            <a:r>
              <a:rPr lang="en-US" sz="1800" dirty="0">
                <a:solidFill>
                  <a:schemeClr val="tx2"/>
                </a:solidFill>
              </a:rPr>
              <a:t>Teleworking</a:t>
            </a:r>
            <a:endParaRPr lang="en-US" dirty="0">
              <a:solidFill>
                <a:schemeClr val="tx2"/>
              </a:solidFill>
            </a:endParaRPr>
          </a:p>
        </p:txBody>
      </p:sp>
      <p:sp>
        <p:nvSpPr>
          <p:cNvPr id="14" name="TextBox 13">
            <a:extLst>
              <a:ext uri="{FF2B5EF4-FFF2-40B4-BE49-F238E27FC236}">
                <a16:creationId xmlns:a16="http://schemas.microsoft.com/office/drawing/2014/main" id="{B0945AB4-BA8A-3BC7-4D1C-351DC3FA4489}"/>
              </a:ext>
            </a:extLst>
          </p:cNvPr>
          <p:cNvSpPr txBox="1"/>
          <p:nvPr/>
        </p:nvSpPr>
        <p:spPr>
          <a:xfrm>
            <a:off x="1567330" y="5898767"/>
            <a:ext cx="1435100" cy="369332"/>
          </a:xfrm>
          <a:prstGeom prst="rect">
            <a:avLst/>
          </a:prstGeom>
          <a:noFill/>
        </p:spPr>
        <p:txBody>
          <a:bodyPr wrap="square">
            <a:spAutoFit/>
          </a:bodyPr>
          <a:lstStyle/>
          <a:p>
            <a:r>
              <a:rPr lang="en-US" sz="1800" dirty="0">
                <a:solidFill>
                  <a:schemeClr val="tx2"/>
                </a:solidFill>
              </a:rPr>
              <a:t>Telehealth</a:t>
            </a:r>
            <a:endParaRPr lang="en-US" dirty="0">
              <a:solidFill>
                <a:schemeClr val="tx2"/>
              </a:solidFill>
            </a:endParaRPr>
          </a:p>
        </p:txBody>
      </p:sp>
      <p:sp>
        <p:nvSpPr>
          <p:cNvPr id="15" name="TextBox 14">
            <a:extLst>
              <a:ext uri="{FF2B5EF4-FFF2-40B4-BE49-F238E27FC236}">
                <a16:creationId xmlns:a16="http://schemas.microsoft.com/office/drawing/2014/main" id="{D816EA00-ADB9-ED23-0907-0283DB18AD8E}"/>
              </a:ext>
            </a:extLst>
          </p:cNvPr>
          <p:cNvSpPr txBox="1"/>
          <p:nvPr/>
        </p:nvSpPr>
        <p:spPr>
          <a:xfrm>
            <a:off x="8037980" y="2980859"/>
            <a:ext cx="1758950" cy="369332"/>
          </a:xfrm>
          <a:prstGeom prst="rect">
            <a:avLst/>
          </a:prstGeom>
          <a:noFill/>
        </p:spPr>
        <p:txBody>
          <a:bodyPr wrap="square">
            <a:spAutoFit/>
          </a:bodyPr>
          <a:lstStyle/>
          <a:p>
            <a:r>
              <a:rPr lang="en-US" sz="1800" dirty="0">
                <a:solidFill>
                  <a:schemeClr val="tx2"/>
                </a:solidFill>
              </a:rPr>
              <a:t>E-commerce</a:t>
            </a:r>
            <a:endParaRPr lang="en-US" dirty="0">
              <a:solidFill>
                <a:schemeClr val="tx2"/>
              </a:solidFill>
            </a:endParaRPr>
          </a:p>
        </p:txBody>
      </p:sp>
      <p:sp>
        <p:nvSpPr>
          <p:cNvPr id="16" name="TextBox 15">
            <a:extLst>
              <a:ext uri="{FF2B5EF4-FFF2-40B4-BE49-F238E27FC236}">
                <a16:creationId xmlns:a16="http://schemas.microsoft.com/office/drawing/2014/main" id="{2E9AB4F9-07B3-009D-D5CF-1EBDE9381172}"/>
              </a:ext>
            </a:extLst>
          </p:cNvPr>
          <p:cNvSpPr txBox="1"/>
          <p:nvPr/>
        </p:nvSpPr>
        <p:spPr>
          <a:xfrm>
            <a:off x="8193555" y="5907057"/>
            <a:ext cx="1758950" cy="369332"/>
          </a:xfrm>
          <a:prstGeom prst="rect">
            <a:avLst/>
          </a:prstGeom>
          <a:noFill/>
        </p:spPr>
        <p:txBody>
          <a:bodyPr wrap="square">
            <a:spAutoFit/>
          </a:bodyPr>
          <a:lstStyle/>
          <a:p>
            <a:r>
              <a:rPr lang="en-US" sz="1800" dirty="0">
                <a:solidFill>
                  <a:schemeClr val="tx2"/>
                </a:solidFill>
              </a:rPr>
              <a:t>E-learning</a:t>
            </a:r>
            <a:endParaRPr lang="en-US" dirty="0">
              <a:solidFill>
                <a:schemeClr val="tx2"/>
              </a:solidFill>
            </a:endParaRPr>
          </a:p>
        </p:txBody>
      </p:sp>
      <p:sp>
        <p:nvSpPr>
          <p:cNvPr id="17" name="TextBox 16">
            <a:extLst>
              <a:ext uri="{FF2B5EF4-FFF2-40B4-BE49-F238E27FC236}">
                <a16:creationId xmlns:a16="http://schemas.microsoft.com/office/drawing/2014/main" id="{9F996F44-4D3B-DD90-5B84-BD968EDB1257}"/>
              </a:ext>
            </a:extLst>
          </p:cNvPr>
          <p:cNvSpPr txBox="1"/>
          <p:nvPr/>
        </p:nvSpPr>
        <p:spPr>
          <a:xfrm>
            <a:off x="-7618" y="6189828"/>
            <a:ext cx="12198723" cy="430887"/>
          </a:xfrm>
          <a:prstGeom prst="rect">
            <a:avLst/>
          </a:prstGeom>
          <a:solidFill>
            <a:schemeClr val="accent4"/>
          </a:solidFill>
          <a:ln>
            <a:solidFill>
              <a:srgbClr val="0070C0"/>
            </a:solidFill>
          </a:ln>
        </p:spPr>
        <p:txBody>
          <a:bodyPr wrap="square" lIns="0" tIns="0" rIns="0" bIns="0" rtlCol="0">
            <a:spAutoFit/>
          </a:bodyPr>
          <a:lstStyle/>
          <a:p>
            <a:pPr algn="ctr"/>
            <a:r>
              <a:rPr lang="en-US" sz="2800" dirty="0">
                <a:solidFill>
                  <a:schemeClr val="bg1"/>
                </a:solidFill>
              </a:rPr>
              <a:t>Accelerating Digital requirements by 5 years</a:t>
            </a:r>
          </a:p>
        </p:txBody>
      </p:sp>
      <p:sp>
        <p:nvSpPr>
          <p:cNvPr id="4" name="Footer Placeholder 3">
            <a:extLst>
              <a:ext uri="{FF2B5EF4-FFF2-40B4-BE49-F238E27FC236}">
                <a16:creationId xmlns:a16="http://schemas.microsoft.com/office/drawing/2014/main" id="{25FE00AB-2252-BB40-519C-BF9110FC1525}"/>
              </a:ext>
            </a:extLst>
          </p:cNvPr>
          <p:cNvSpPr>
            <a:spLocks noGrp="1"/>
          </p:cNvSpPr>
          <p:nvPr>
            <p:ph type="ftr" sz="quarter" idx="3"/>
          </p:nvPr>
        </p:nvSpPr>
        <p:spPr/>
        <p:txBody>
          <a:bodyPr/>
          <a:lstStyle/>
          <a:p>
            <a:r>
              <a:rPr lang="en-US" dirty="0"/>
              <a:t>LIBERTY LATIN AMERICA | CANTO 2022 | JULY 18</a:t>
            </a:r>
          </a:p>
        </p:txBody>
      </p:sp>
      <p:sp>
        <p:nvSpPr>
          <p:cNvPr id="5" name="Slide Number Placeholder 4">
            <a:extLst>
              <a:ext uri="{FF2B5EF4-FFF2-40B4-BE49-F238E27FC236}">
                <a16:creationId xmlns:a16="http://schemas.microsoft.com/office/drawing/2014/main" id="{E5785A01-3401-852D-3911-CE1126E96320}"/>
              </a:ext>
            </a:extLst>
          </p:cNvPr>
          <p:cNvSpPr>
            <a:spLocks noGrp="1"/>
          </p:cNvSpPr>
          <p:nvPr>
            <p:ph type="sldNum" sz="quarter" idx="4"/>
          </p:nvPr>
        </p:nvSpPr>
        <p:spPr/>
        <p:txBody>
          <a:bodyPr/>
          <a:lstStyle/>
          <a:p>
            <a:fld id="{496097A3-845D-4C79-9B10-713A18711759}" type="slidenum">
              <a:rPr lang="en-US" smtClean="0"/>
              <a:pPr/>
              <a:t>15</a:t>
            </a:fld>
            <a:endParaRPr lang="en-US"/>
          </a:p>
        </p:txBody>
      </p:sp>
    </p:spTree>
    <p:extLst>
      <p:ext uri="{BB962C8B-B14F-4D97-AF65-F5344CB8AC3E}">
        <p14:creationId xmlns:p14="http://schemas.microsoft.com/office/powerpoint/2010/main" val="23887411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4A93E1F-709B-F754-A171-BD904DF31D22}"/>
              </a:ext>
            </a:extLst>
          </p:cNvPr>
          <p:cNvGraphicFramePr>
            <a:graphicFrameLocks noChangeAspect="1"/>
          </p:cNvGraphicFramePr>
          <p:nvPr>
            <p:custDataLst>
              <p:tags r:id="rId1"/>
            </p:custDataLst>
            <p:extLst>
              <p:ext uri="{D42A27DB-BD31-4B8C-83A1-F6EECF244321}">
                <p14:modId xmlns:p14="http://schemas.microsoft.com/office/powerpoint/2010/main" val="2642432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7B315A3A-4E9D-9F44-8FAF-AD26629837E1}"/>
              </a:ext>
            </a:extLst>
          </p:cNvPr>
          <p:cNvGrpSpPr/>
          <p:nvPr/>
        </p:nvGrpSpPr>
        <p:grpSpPr>
          <a:xfrm>
            <a:off x="714498" y="2972854"/>
            <a:ext cx="5056371" cy="1275975"/>
            <a:chOff x="7344158" y="7200757"/>
            <a:chExt cx="10112741" cy="2551949"/>
          </a:xfrm>
        </p:grpSpPr>
        <p:sp>
          <p:nvSpPr>
            <p:cNvPr id="3073" name="Freeform 1">
              <a:extLst>
                <a:ext uri="{FF2B5EF4-FFF2-40B4-BE49-F238E27FC236}">
                  <a16:creationId xmlns:a16="http://schemas.microsoft.com/office/drawing/2014/main" id="{3083EA2E-FB97-0D40-B23B-D2FB087AD066}"/>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2">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3074" name="Freeform 2">
              <a:extLst>
                <a:ext uri="{FF2B5EF4-FFF2-40B4-BE49-F238E27FC236}">
                  <a16:creationId xmlns:a16="http://schemas.microsoft.com/office/drawing/2014/main" id="{10179A06-046B-DF40-9D54-E7DDA84B8F7C}"/>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5" name="Freeform 3">
              <a:extLst>
                <a:ext uri="{FF2B5EF4-FFF2-40B4-BE49-F238E27FC236}">
                  <a16:creationId xmlns:a16="http://schemas.microsoft.com/office/drawing/2014/main" id="{ACA12FB9-8BA4-EB42-834F-AF577C3B9584}"/>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3076" name="Freeform 4">
              <a:extLst>
                <a:ext uri="{FF2B5EF4-FFF2-40B4-BE49-F238E27FC236}">
                  <a16:creationId xmlns:a16="http://schemas.microsoft.com/office/drawing/2014/main" id="{1F5BACBB-3762-4141-8974-318E7F4CC385}"/>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grpSp>
      <p:grpSp>
        <p:nvGrpSpPr>
          <p:cNvPr id="3" name="Group 2">
            <a:extLst>
              <a:ext uri="{FF2B5EF4-FFF2-40B4-BE49-F238E27FC236}">
                <a16:creationId xmlns:a16="http://schemas.microsoft.com/office/drawing/2014/main" id="{231B52EC-0F35-3E46-B9E2-3188F8467E95}"/>
              </a:ext>
            </a:extLst>
          </p:cNvPr>
          <p:cNvGrpSpPr/>
          <p:nvPr/>
        </p:nvGrpSpPr>
        <p:grpSpPr>
          <a:xfrm>
            <a:off x="714498" y="1293873"/>
            <a:ext cx="5056371" cy="1275975"/>
            <a:chOff x="7344158" y="4294533"/>
            <a:chExt cx="10112741" cy="2551949"/>
          </a:xfrm>
        </p:grpSpPr>
        <p:sp>
          <p:nvSpPr>
            <p:cNvPr id="3077" name="Freeform 5">
              <a:extLst>
                <a:ext uri="{FF2B5EF4-FFF2-40B4-BE49-F238E27FC236}">
                  <a16:creationId xmlns:a16="http://schemas.microsoft.com/office/drawing/2014/main" id="{9FF7FAD2-6E67-664F-83B7-6C75FE25AD78}"/>
                </a:ext>
              </a:extLst>
            </p:cNvPr>
            <p:cNvSpPr>
              <a:spLocks noChangeArrowheads="1"/>
            </p:cNvSpPr>
            <p:nvPr/>
          </p:nvSpPr>
          <p:spPr bwMode="auto">
            <a:xfrm>
              <a:off x="7491053" y="6345309"/>
              <a:ext cx="1595688" cy="501173"/>
            </a:xfrm>
            <a:custGeom>
              <a:avLst/>
              <a:gdLst>
                <a:gd name="T0" fmla="*/ 439 w 2443"/>
                <a:gd name="T1" fmla="*/ 765 h 766"/>
                <a:gd name="T2" fmla="*/ 0 w 2443"/>
                <a:gd name="T3" fmla="*/ 0 h 766"/>
                <a:gd name="T4" fmla="*/ 2442 w 2443"/>
                <a:gd name="T5" fmla="*/ 0 h 766"/>
                <a:gd name="T6" fmla="*/ 2004 w 2443"/>
                <a:gd name="T7" fmla="*/ 765 h 766"/>
                <a:gd name="T8" fmla="*/ 439 w 2443"/>
                <a:gd name="T9" fmla="*/ 765 h 766"/>
              </a:gdLst>
              <a:ahLst/>
              <a:cxnLst>
                <a:cxn ang="0">
                  <a:pos x="T0" y="T1"/>
                </a:cxn>
                <a:cxn ang="0">
                  <a:pos x="T2" y="T3"/>
                </a:cxn>
                <a:cxn ang="0">
                  <a:pos x="T4" y="T5"/>
                </a:cxn>
                <a:cxn ang="0">
                  <a:pos x="T6" y="T7"/>
                </a:cxn>
                <a:cxn ang="0">
                  <a:pos x="T8" y="T9"/>
                </a:cxn>
              </a:cxnLst>
              <a:rect l="0" t="0" r="r" b="b"/>
              <a:pathLst>
                <a:path w="2443" h="766">
                  <a:moveTo>
                    <a:pt x="439" y="765"/>
                  </a:moveTo>
                  <a:lnTo>
                    <a:pt x="0" y="0"/>
                  </a:lnTo>
                  <a:lnTo>
                    <a:pt x="2442" y="0"/>
                  </a:lnTo>
                  <a:lnTo>
                    <a:pt x="2004" y="765"/>
                  </a:lnTo>
                  <a:lnTo>
                    <a:pt x="439" y="765"/>
                  </a:lnTo>
                </a:path>
              </a:pathLst>
            </a:custGeom>
            <a:solidFill>
              <a:schemeClr val="accent1">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3078" name="Freeform 6">
              <a:extLst>
                <a:ext uri="{FF2B5EF4-FFF2-40B4-BE49-F238E27FC236}">
                  <a16:creationId xmlns:a16="http://schemas.microsoft.com/office/drawing/2014/main" id="{3AA7EAB9-9051-4F48-84FF-112C14DE221D}"/>
                </a:ext>
              </a:extLst>
            </p:cNvPr>
            <p:cNvSpPr>
              <a:spLocks noChangeArrowheads="1"/>
            </p:cNvSpPr>
            <p:nvPr/>
          </p:nvSpPr>
          <p:spPr bwMode="auto">
            <a:xfrm>
              <a:off x="7453610" y="4403985"/>
              <a:ext cx="9893838" cy="2111261"/>
            </a:xfrm>
            <a:custGeom>
              <a:avLst/>
              <a:gdLst>
                <a:gd name="T0" fmla="*/ 15146 w 15147"/>
                <a:gd name="T1" fmla="*/ 0 h 3231"/>
                <a:gd name="T2" fmla="*/ 0 w 15147"/>
                <a:gd name="T3" fmla="*/ 0 h 3231"/>
                <a:gd name="T4" fmla="*/ 0 w 15147"/>
                <a:gd name="T5" fmla="*/ 3230 h 3231"/>
                <a:gd name="T6" fmla="*/ 15146 w 15147"/>
                <a:gd name="T7" fmla="*/ 3230 h 3231"/>
                <a:gd name="T8" fmla="*/ 15146 w 15147"/>
                <a:gd name="T9" fmla="*/ 0 h 3231"/>
              </a:gdLst>
              <a:ahLst/>
              <a:cxnLst>
                <a:cxn ang="0">
                  <a:pos x="T0" y="T1"/>
                </a:cxn>
                <a:cxn ang="0">
                  <a:pos x="T2" y="T3"/>
                </a:cxn>
                <a:cxn ang="0">
                  <a:pos x="T4" y="T5"/>
                </a:cxn>
                <a:cxn ang="0">
                  <a:pos x="T6" y="T7"/>
                </a:cxn>
                <a:cxn ang="0">
                  <a:pos x="T8" y="T9"/>
                </a:cxn>
              </a:cxnLst>
              <a:rect l="0" t="0" r="r" b="b"/>
              <a:pathLst>
                <a:path w="15147" h="3231">
                  <a:moveTo>
                    <a:pt x="15146" y="0"/>
                  </a:moveTo>
                  <a:lnTo>
                    <a:pt x="0" y="0"/>
                  </a:lnTo>
                  <a:lnTo>
                    <a:pt x="0" y="3230"/>
                  </a:lnTo>
                  <a:lnTo>
                    <a:pt x="15146" y="3230"/>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9" name="Freeform 7">
              <a:extLst>
                <a:ext uri="{FF2B5EF4-FFF2-40B4-BE49-F238E27FC236}">
                  <a16:creationId xmlns:a16="http://schemas.microsoft.com/office/drawing/2014/main" id="{9B3B8AB8-A307-6D4E-8164-AFDD76294A7C}"/>
                </a:ext>
              </a:extLst>
            </p:cNvPr>
            <p:cNvSpPr>
              <a:spLocks noChangeArrowheads="1"/>
            </p:cNvSpPr>
            <p:nvPr/>
          </p:nvSpPr>
          <p:spPr bwMode="auto">
            <a:xfrm>
              <a:off x="7344158" y="4294533"/>
              <a:ext cx="10112741" cy="2330164"/>
            </a:xfrm>
            <a:custGeom>
              <a:avLst/>
              <a:gdLst>
                <a:gd name="T0" fmla="*/ 15315 w 15484"/>
                <a:gd name="T1" fmla="*/ 3568 h 3569"/>
                <a:gd name="T2" fmla="*/ 15315 w 15484"/>
                <a:gd name="T3" fmla="*/ 3568 h 3569"/>
                <a:gd name="T4" fmla="*/ 15483 w 15484"/>
                <a:gd name="T5" fmla="*/ 3399 h 3569"/>
                <a:gd name="T6" fmla="*/ 15483 w 15484"/>
                <a:gd name="T7" fmla="*/ 169 h 3569"/>
                <a:gd name="T8" fmla="*/ 15483 w 15484"/>
                <a:gd name="T9" fmla="*/ 169 h 3569"/>
                <a:gd name="T10" fmla="*/ 15315 w 15484"/>
                <a:gd name="T11" fmla="*/ 0 h 3569"/>
                <a:gd name="T12" fmla="*/ 169 w 15484"/>
                <a:gd name="T13" fmla="*/ 0 h 3569"/>
                <a:gd name="T14" fmla="*/ 169 w 15484"/>
                <a:gd name="T15" fmla="*/ 0 h 3569"/>
                <a:gd name="T16" fmla="*/ 0 w 15484"/>
                <a:gd name="T17" fmla="*/ 169 h 3569"/>
                <a:gd name="T18" fmla="*/ 0 w 15484"/>
                <a:gd name="T19" fmla="*/ 3399 h 3569"/>
                <a:gd name="T20" fmla="*/ 0 w 15484"/>
                <a:gd name="T21" fmla="*/ 3399 h 3569"/>
                <a:gd name="T22" fmla="*/ 169 w 15484"/>
                <a:gd name="T23" fmla="*/ 3568 h 3569"/>
                <a:gd name="T24" fmla="*/ 15315 w 15484"/>
                <a:gd name="T25" fmla="*/ 3568 h 3569"/>
                <a:gd name="T26" fmla="*/ 15315 w 15484"/>
                <a:gd name="T27" fmla="*/ 3399 h 3569"/>
                <a:gd name="T28" fmla="*/ 169 w 15484"/>
                <a:gd name="T29" fmla="*/ 3399 h 3569"/>
                <a:gd name="T30" fmla="*/ 169 w 15484"/>
                <a:gd name="T31" fmla="*/ 169 h 3569"/>
                <a:gd name="T32" fmla="*/ 15315 w 15484"/>
                <a:gd name="T33" fmla="*/ 169 h 3569"/>
                <a:gd name="T34" fmla="*/ 15315 w 15484"/>
                <a:gd name="T35" fmla="*/ 3399 h 3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9">
                  <a:moveTo>
                    <a:pt x="15315" y="3568"/>
                  </a:moveTo>
                  <a:lnTo>
                    <a:pt x="15315" y="3568"/>
                  </a:lnTo>
                  <a:cubicBezTo>
                    <a:pt x="15407" y="3568"/>
                    <a:pt x="15483" y="3492"/>
                    <a:pt x="15483" y="3399"/>
                  </a:cubicBezTo>
                  <a:lnTo>
                    <a:pt x="15483" y="169"/>
                  </a:lnTo>
                  <a:lnTo>
                    <a:pt x="15483" y="169"/>
                  </a:lnTo>
                  <a:cubicBezTo>
                    <a:pt x="15483" y="76"/>
                    <a:pt x="15407" y="0"/>
                    <a:pt x="15315" y="0"/>
                  </a:cubicBezTo>
                  <a:lnTo>
                    <a:pt x="169" y="0"/>
                  </a:lnTo>
                  <a:lnTo>
                    <a:pt x="169" y="0"/>
                  </a:lnTo>
                  <a:cubicBezTo>
                    <a:pt x="76" y="0"/>
                    <a:pt x="0" y="76"/>
                    <a:pt x="0" y="169"/>
                  </a:cubicBezTo>
                  <a:lnTo>
                    <a:pt x="0" y="3399"/>
                  </a:lnTo>
                  <a:lnTo>
                    <a:pt x="0" y="3399"/>
                  </a:lnTo>
                  <a:cubicBezTo>
                    <a:pt x="0" y="3492"/>
                    <a:pt x="76" y="3568"/>
                    <a:pt x="169" y="3568"/>
                  </a:cubicBezTo>
                  <a:lnTo>
                    <a:pt x="15315" y="3568"/>
                  </a:lnTo>
                  <a:close/>
                  <a:moveTo>
                    <a:pt x="15315" y="3399"/>
                  </a:moveTo>
                  <a:lnTo>
                    <a:pt x="169" y="3399"/>
                  </a:lnTo>
                  <a:lnTo>
                    <a:pt x="169" y="169"/>
                  </a:lnTo>
                  <a:lnTo>
                    <a:pt x="15315" y="169"/>
                  </a:lnTo>
                  <a:lnTo>
                    <a:pt x="15315" y="3399"/>
                  </a:lnTo>
                  <a:close/>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sp>
          <p:nvSpPr>
            <p:cNvPr id="3080" name="Freeform 8">
              <a:extLst>
                <a:ext uri="{FF2B5EF4-FFF2-40B4-BE49-F238E27FC236}">
                  <a16:creationId xmlns:a16="http://schemas.microsoft.com/office/drawing/2014/main" id="{3A8F2736-34B0-0340-83AB-AB0D36B67C3D}"/>
                </a:ext>
              </a:extLst>
            </p:cNvPr>
            <p:cNvSpPr>
              <a:spLocks noChangeArrowheads="1"/>
            </p:cNvSpPr>
            <p:nvPr/>
          </p:nvSpPr>
          <p:spPr bwMode="auto">
            <a:xfrm>
              <a:off x="7776204" y="4723697"/>
              <a:ext cx="1022506" cy="2122784"/>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grpSp>
      <p:grpSp>
        <p:nvGrpSpPr>
          <p:cNvPr id="14" name="Group 13">
            <a:extLst>
              <a:ext uri="{FF2B5EF4-FFF2-40B4-BE49-F238E27FC236}">
                <a16:creationId xmlns:a16="http://schemas.microsoft.com/office/drawing/2014/main" id="{C66B2E52-420B-FC42-A1CB-7BEDF6136328}"/>
              </a:ext>
            </a:extLst>
          </p:cNvPr>
          <p:cNvGrpSpPr/>
          <p:nvPr/>
        </p:nvGrpSpPr>
        <p:grpSpPr>
          <a:xfrm>
            <a:off x="714498" y="4654951"/>
            <a:ext cx="5056371" cy="1275975"/>
            <a:chOff x="7344158" y="7200757"/>
            <a:chExt cx="10112741" cy="2551949"/>
          </a:xfrm>
        </p:grpSpPr>
        <p:sp>
          <p:nvSpPr>
            <p:cNvPr id="15" name="Freeform 1">
              <a:extLst>
                <a:ext uri="{FF2B5EF4-FFF2-40B4-BE49-F238E27FC236}">
                  <a16:creationId xmlns:a16="http://schemas.microsoft.com/office/drawing/2014/main" id="{BB3D4E8A-7C8B-B745-82F4-7ACA36CD2B51}"/>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3">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16" name="Freeform 2">
              <a:extLst>
                <a:ext uri="{FF2B5EF4-FFF2-40B4-BE49-F238E27FC236}">
                  <a16:creationId xmlns:a16="http://schemas.microsoft.com/office/drawing/2014/main" id="{5E9AFCBE-DE90-BD43-A669-38DB7ACECF52}"/>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7" name="Freeform 3">
              <a:extLst>
                <a:ext uri="{FF2B5EF4-FFF2-40B4-BE49-F238E27FC236}">
                  <a16:creationId xmlns:a16="http://schemas.microsoft.com/office/drawing/2014/main" id="{A983084F-5833-9944-85DA-3B22AD2B2559}"/>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18" name="Freeform 4">
              <a:extLst>
                <a:ext uri="{FF2B5EF4-FFF2-40B4-BE49-F238E27FC236}">
                  <a16:creationId xmlns:a16="http://schemas.microsoft.com/office/drawing/2014/main" id="{3302533E-6634-DA4E-8723-ADA1BE8B04CF}"/>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grpSp>
      <p:grpSp>
        <p:nvGrpSpPr>
          <p:cNvPr id="19" name="Group 18">
            <a:extLst>
              <a:ext uri="{FF2B5EF4-FFF2-40B4-BE49-F238E27FC236}">
                <a16:creationId xmlns:a16="http://schemas.microsoft.com/office/drawing/2014/main" id="{D6BD712C-39F2-4644-8EF6-9BB151385DE8}"/>
              </a:ext>
            </a:extLst>
          </p:cNvPr>
          <p:cNvGrpSpPr/>
          <p:nvPr/>
        </p:nvGrpSpPr>
        <p:grpSpPr>
          <a:xfrm>
            <a:off x="6326128" y="2972854"/>
            <a:ext cx="5056371" cy="1275975"/>
            <a:chOff x="7344158" y="7200757"/>
            <a:chExt cx="10112741" cy="2551949"/>
          </a:xfrm>
        </p:grpSpPr>
        <p:sp>
          <p:nvSpPr>
            <p:cNvPr id="20" name="Freeform 1">
              <a:extLst>
                <a:ext uri="{FF2B5EF4-FFF2-40B4-BE49-F238E27FC236}">
                  <a16:creationId xmlns:a16="http://schemas.microsoft.com/office/drawing/2014/main" id="{4109E74D-BF28-D542-9A61-84DE63BF6B63}"/>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5">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21" name="Freeform 2">
              <a:extLst>
                <a:ext uri="{FF2B5EF4-FFF2-40B4-BE49-F238E27FC236}">
                  <a16:creationId xmlns:a16="http://schemas.microsoft.com/office/drawing/2014/main" id="{E8F191C5-609F-D34E-826A-4EA844F4DD5D}"/>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22" name="Freeform 3">
              <a:extLst>
                <a:ext uri="{FF2B5EF4-FFF2-40B4-BE49-F238E27FC236}">
                  <a16:creationId xmlns:a16="http://schemas.microsoft.com/office/drawing/2014/main" id="{3B8341E5-D705-DB4D-A284-ED10EB2A76B9}"/>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23" name="Freeform 4">
              <a:extLst>
                <a:ext uri="{FF2B5EF4-FFF2-40B4-BE49-F238E27FC236}">
                  <a16:creationId xmlns:a16="http://schemas.microsoft.com/office/drawing/2014/main" id="{C18B9C2C-E204-054E-BC67-0168804B97B1}"/>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grpSp>
      <p:grpSp>
        <p:nvGrpSpPr>
          <p:cNvPr id="24" name="Group 23">
            <a:extLst>
              <a:ext uri="{FF2B5EF4-FFF2-40B4-BE49-F238E27FC236}">
                <a16:creationId xmlns:a16="http://schemas.microsoft.com/office/drawing/2014/main" id="{2842D656-481B-D64C-9BC9-DF8829A5018C}"/>
              </a:ext>
            </a:extLst>
          </p:cNvPr>
          <p:cNvGrpSpPr/>
          <p:nvPr/>
        </p:nvGrpSpPr>
        <p:grpSpPr>
          <a:xfrm>
            <a:off x="6326128" y="1293873"/>
            <a:ext cx="5056371" cy="1275975"/>
            <a:chOff x="7344158" y="4294533"/>
            <a:chExt cx="10112741" cy="2551949"/>
          </a:xfrm>
        </p:grpSpPr>
        <p:sp>
          <p:nvSpPr>
            <p:cNvPr id="25" name="Freeform 5">
              <a:extLst>
                <a:ext uri="{FF2B5EF4-FFF2-40B4-BE49-F238E27FC236}">
                  <a16:creationId xmlns:a16="http://schemas.microsoft.com/office/drawing/2014/main" id="{A9D08693-D346-CC49-8074-71490BE237CF}"/>
                </a:ext>
              </a:extLst>
            </p:cNvPr>
            <p:cNvSpPr>
              <a:spLocks noChangeArrowheads="1"/>
            </p:cNvSpPr>
            <p:nvPr/>
          </p:nvSpPr>
          <p:spPr bwMode="auto">
            <a:xfrm>
              <a:off x="7491053" y="6345309"/>
              <a:ext cx="1595688" cy="501173"/>
            </a:xfrm>
            <a:custGeom>
              <a:avLst/>
              <a:gdLst>
                <a:gd name="T0" fmla="*/ 439 w 2443"/>
                <a:gd name="T1" fmla="*/ 765 h 766"/>
                <a:gd name="T2" fmla="*/ 0 w 2443"/>
                <a:gd name="T3" fmla="*/ 0 h 766"/>
                <a:gd name="T4" fmla="*/ 2442 w 2443"/>
                <a:gd name="T5" fmla="*/ 0 h 766"/>
                <a:gd name="T6" fmla="*/ 2004 w 2443"/>
                <a:gd name="T7" fmla="*/ 765 h 766"/>
                <a:gd name="T8" fmla="*/ 439 w 2443"/>
                <a:gd name="T9" fmla="*/ 765 h 766"/>
              </a:gdLst>
              <a:ahLst/>
              <a:cxnLst>
                <a:cxn ang="0">
                  <a:pos x="T0" y="T1"/>
                </a:cxn>
                <a:cxn ang="0">
                  <a:pos x="T2" y="T3"/>
                </a:cxn>
                <a:cxn ang="0">
                  <a:pos x="T4" y="T5"/>
                </a:cxn>
                <a:cxn ang="0">
                  <a:pos x="T6" y="T7"/>
                </a:cxn>
                <a:cxn ang="0">
                  <a:pos x="T8" y="T9"/>
                </a:cxn>
              </a:cxnLst>
              <a:rect l="0" t="0" r="r" b="b"/>
              <a:pathLst>
                <a:path w="2443" h="766">
                  <a:moveTo>
                    <a:pt x="439" y="765"/>
                  </a:moveTo>
                  <a:lnTo>
                    <a:pt x="0" y="0"/>
                  </a:lnTo>
                  <a:lnTo>
                    <a:pt x="2442" y="0"/>
                  </a:lnTo>
                  <a:lnTo>
                    <a:pt x="2004" y="765"/>
                  </a:lnTo>
                  <a:lnTo>
                    <a:pt x="439" y="765"/>
                  </a:lnTo>
                </a:path>
              </a:pathLst>
            </a:custGeom>
            <a:solidFill>
              <a:schemeClr val="accent4">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26" name="Freeform 6">
              <a:extLst>
                <a:ext uri="{FF2B5EF4-FFF2-40B4-BE49-F238E27FC236}">
                  <a16:creationId xmlns:a16="http://schemas.microsoft.com/office/drawing/2014/main" id="{B30EAEEF-0C11-884C-ABD2-240E3E3A7CE6}"/>
                </a:ext>
              </a:extLst>
            </p:cNvPr>
            <p:cNvSpPr>
              <a:spLocks noChangeArrowheads="1"/>
            </p:cNvSpPr>
            <p:nvPr/>
          </p:nvSpPr>
          <p:spPr bwMode="auto">
            <a:xfrm>
              <a:off x="7453610" y="4403985"/>
              <a:ext cx="9893838" cy="2111261"/>
            </a:xfrm>
            <a:custGeom>
              <a:avLst/>
              <a:gdLst>
                <a:gd name="T0" fmla="*/ 15146 w 15147"/>
                <a:gd name="T1" fmla="*/ 0 h 3231"/>
                <a:gd name="T2" fmla="*/ 0 w 15147"/>
                <a:gd name="T3" fmla="*/ 0 h 3231"/>
                <a:gd name="T4" fmla="*/ 0 w 15147"/>
                <a:gd name="T5" fmla="*/ 3230 h 3231"/>
                <a:gd name="T6" fmla="*/ 15146 w 15147"/>
                <a:gd name="T7" fmla="*/ 3230 h 3231"/>
                <a:gd name="T8" fmla="*/ 15146 w 15147"/>
                <a:gd name="T9" fmla="*/ 0 h 3231"/>
              </a:gdLst>
              <a:ahLst/>
              <a:cxnLst>
                <a:cxn ang="0">
                  <a:pos x="T0" y="T1"/>
                </a:cxn>
                <a:cxn ang="0">
                  <a:pos x="T2" y="T3"/>
                </a:cxn>
                <a:cxn ang="0">
                  <a:pos x="T4" y="T5"/>
                </a:cxn>
                <a:cxn ang="0">
                  <a:pos x="T6" y="T7"/>
                </a:cxn>
                <a:cxn ang="0">
                  <a:pos x="T8" y="T9"/>
                </a:cxn>
              </a:cxnLst>
              <a:rect l="0" t="0" r="r" b="b"/>
              <a:pathLst>
                <a:path w="15147" h="3231">
                  <a:moveTo>
                    <a:pt x="15146" y="0"/>
                  </a:moveTo>
                  <a:lnTo>
                    <a:pt x="0" y="0"/>
                  </a:lnTo>
                  <a:lnTo>
                    <a:pt x="0" y="3230"/>
                  </a:lnTo>
                  <a:lnTo>
                    <a:pt x="15146" y="3230"/>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27" name="Freeform 7">
              <a:extLst>
                <a:ext uri="{FF2B5EF4-FFF2-40B4-BE49-F238E27FC236}">
                  <a16:creationId xmlns:a16="http://schemas.microsoft.com/office/drawing/2014/main" id="{88060F17-B340-874B-9BD4-C6C244BA0416}"/>
                </a:ext>
              </a:extLst>
            </p:cNvPr>
            <p:cNvSpPr>
              <a:spLocks noChangeArrowheads="1"/>
            </p:cNvSpPr>
            <p:nvPr/>
          </p:nvSpPr>
          <p:spPr bwMode="auto">
            <a:xfrm>
              <a:off x="7344158" y="4294533"/>
              <a:ext cx="10112741" cy="2330164"/>
            </a:xfrm>
            <a:custGeom>
              <a:avLst/>
              <a:gdLst>
                <a:gd name="T0" fmla="*/ 15315 w 15484"/>
                <a:gd name="T1" fmla="*/ 3568 h 3569"/>
                <a:gd name="T2" fmla="*/ 15315 w 15484"/>
                <a:gd name="T3" fmla="*/ 3568 h 3569"/>
                <a:gd name="T4" fmla="*/ 15483 w 15484"/>
                <a:gd name="T5" fmla="*/ 3399 h 3569"/>
                <a:gd name="T6" fmla="*/ 15483 w 15484"/>
                <a:gd name="T7" fmla="*/ 169 h 3569"/>
                <a:gd name="T8" fmla="*/ 15483 w 15484"/>
                <a:gd name="T9" fmla="*/ 169 h 3569"/>
                <a:gd name="T10" fmla="*/ 15315 w 15484"/>
                <a:gd name="T11" fmla="*/ 0 h 3569"/>
                <a:gd name="T12" fmla="*/ 169 w 15484"/>
                <a:gd name="T13" fmla="*/ 0 h 3569"/>
                <a:gd name="T14" fmla="*/ 169 w 15484"/>
                <a:gd name="T15" fmla="*/ 0 h 3569"/>
                <a:gd name="T16" fmla="*/ 0 w 15484"/>
                <a:gd name="T17" fmla="*/ 169 h 3569"/>
                <a:gd name="T18" fmla="*/ 0 w 15484"/>
                <a:gd name="T19" fmla="*/ 3399 h 3569"/>
                <a:gd name="T20" fmla="*/ 0 w 15484"/>
                <a:gd name="T21" fmla="*/ 3399 h 3569"/>
                <a:gd name="T22" fmla="*/ 169 w 15484"/>
                <a:gd name="T23" fmla="*/ 3568 h 3569"/>
                <a:gd name="T24" fmla="*/ 15315 w 15484"/>
                <a:gd name="T25" fmla="*/ 3568 h 3569"/>
                <a:gd name="T26" fmla="*/ 15315 w 15484"/>
                <a:gd name="T27" fmla="*/ 3399 h 3569"/>
                <a:gd name="T28" fmla="*/ 169 w 15484"/>
                <a:gd name="T29" fmla="*/ 3399 h 3569"/>
                <a:gd name="T30" fmla="*/ 169 w 15484"/>
                <a:gd name="T31" fmla="*/ 169 h 3569"/>
                <a:gd name="T32" fmla="*/ 15315 w 15484"/>
                <a:gd name="T33" fmla="*/ 169 h 3569"/>
                <a:gd name="T34" fmla="*/ 15315 w 15484"/>
                <a:gd name="T35" fmla="*/ 3399 h 3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9">
                  <a:moveTo>
                    <a:pt x="15315" y="3568"/>
                  </a:moveTo>
                  <a:lnTo>
                    <a:pt x="15315" y="3568"/>
                  </a:lnTo>
                  <a:cubicBezTo>
                    <a:pt x="15407" y="3568"/>
                    <a:pt x="15483" y="3492"/>
                    <a:pt x="15483" y="3399"/>
                  </a:cubicBezTo>
                  <a:lnTo>
                    <a:pt x="15483" y="169"/>
                  </a:lnTo>
                  <a:lnTo>
                    <a:pt x="15483" y="169"/>
                  </a:lnTo>
                  <a:cubicBezTo>
                    <a:pt x="15483" y="76"/>
                    <a:pt x="15407" y="0"/>
                    <a:pt x="15315" y="0"/>
                  </a:cubicBezTo>
                  <a:lnTo>
                    <a:pt x="169" y="0"/>
                  </a:lnTo>
                  <a:lnTo>
                    <a:pt x="169" y="0"/>
                  </a:lnTo>
                  <a:cubicBezTo>
                    <a:pt x="76" y="0"/>
                    <a:pt x="0" y="76"/>
                    <a:pt x="0" y="169"/>
                  </a:cubicBezTo>
                  <a:lnTo>
                    <a:pt x="0" y="3399"/>
                  </a:lnTo>
                  <a:lnTo>
                    <a:pt x="0" y="3399"/>
                  </a:lnTo>
                  <a:cubicBezTo>
                    <a:pt x="0" y="3492"/>
                    <a:pt x="76" y="3568"/>
                    <a:pt x="169" y="3568"/>
                  </a:cubicBezTo>
                  <a:lnTo>
                    <a:pt x="15315" y="3568"/>
                  </a:lnTo>
                  <a:close/>
                  <a:moveTo>
                    <a:pt x="15315" y="3399"/>
                  </a:moveTo>
                  <a:lnTo>
                    <a:pt x="169" y="3399"/>
                  </a:lnTo>
                  <a:lnTo>
                    <a:pt x="169" y="169"/>
                  </a:lnTo>
                  <a:lnTo>
                    <a:pt x="15315" y="169"/>
                  </a:lnTo>
                  <a:lnTo>
                    <a:pt x="15315" y="3399"/>
                  </a:lnTo>
                  <a:close/>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28" name="Freeform 8">
              <a:extLst>
                <a:ext uri="{FF2B5EF4-FFF2-40B4-BE49-F238E27FC236}">
                  <a16:creationId xmlns:a16="http://schemas.microsoft.com/office/drawing/2014/main" id="{4A6D3135-DE1B-C945-93DF-16FCD9AE5CDE}"/>
                </a:ext>
              </a:extLst>
            </p:cNvPr>
            <p:cNvSpPr>
              <a:spLocks noChangeArrowheads="1"/>
            </p:cNvSpPr>
            <p:nvPr/>
          </p:nvSpPr>
          <p:spPr bwMode="auto">
            <a:xfrm>
              <a:off x="7776204" y="4723697"/>
              <a:ext cx="1022506" cy="2122784"/>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grpSp>
      <p:grpSp>
        <p:nvGrpSpPr>
          <p:cNvPr id="29" name="Group 28">
            <a:extLst>
              <a:ext uri="{FF2B5EF4-FFF2-40B4-BE49-F238E27FC236}">
                <a16:creationId xmlns:a16="http://schemas.microsoft.com/office/drawing/2014/main" id="{B47A184A-8DD6-8142-9333-F87A756BF234}"/>
              </a:ext>
            </a:extLst>
          </p:cNvPr>
          <p:cNvGrpSpPr/>
          <p:nvPr/>
        </p:nvGrpSpPr>
        <p:grpSpPr>
          <a:xfrm>
            <a:off x="6326128" y="4654951"/>
            <a:ext cx="5056371" cy="1275975"/>
            <a:chOff x="7344158" y="7200757"/>
            <a:chExt cx="10112741" cy="2551949"/>
          </a:xfrm>
        </p:grpSpPr>
        <p:sp>
          <p:nvSpPr>
            <p:cNvPr id="30" name="Freeform 1">
              <a:extLst>
                <a:ext uri="{FF2B5EF4-FFF2-40B4-BE49-F238E27FC236}">
                  <a16:creationId xmlns:a16="http://schemas.microsoft.com/office/drawing/2014/main" id="{AF286CB9-E189-B445-A9D5-9DCB0FBBE98A}"/>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6">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31" name="Freeform 2">
              <a:extLst>
                <a:ext uri="{FF2B5EF4-FFF2-40B4-BE49-F238E27FC236}">
                  <a16:creationId xmlns:a16="http://schemas.microsoft.com/office/drawing/2014/main" id="{C9021A76-9A14-DD4E-BE63-DA305B198278}"/>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2" name="Freeform 3">
              <a:extLst>
                <a:ext uri="{FF2B5EF4-FFF2-40B4-BE49-F238E27FC236}">
                  <a16:creationId xmlns:a16="http://schemas.microsoft.com/office/drawing/2014/main" id="{53652B84-2606-8042-AC7A-412932CD9E2F}"/>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6"/>
            </a:solidFill>
            <a:ln>
              <a:noFill/>
            </a:ln>
            <a:effectLst/>
          </p:spPr>
          <p:txBody>
            <a:bodyPr wrap="none" anchor="ctr"/>
            <a:lstStyle/>
            <a:p>
              <a:endParaRPr lang="en-US" sz="3266" dirty="0">
                <a:latin typeface="Lato Light" panose="020F0502020204030203" pitchFamily="34" charset="0"/>
              </a:endParaRPr>
            </a:p>
          </p:txBody>
        </p:sp>
        <p:sp>
          <p:nvSpPr>
            <p:cNvPr id="33" name="Freeform 4">
              <a:extLst>
                <a:ext uri="{FF2B5EF4-FFF2-40B4-BE49-F238E27FC236}">
                  <a16:creationId xmlns:a16="http://schemas.microsoft.com/office/drawing/2014/main" id="{288C92C4-B47F-AE44-92CB-D326147E3B33}"/>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6"/>
            </a:solidFill>
            <a:ln>
              <a:noFill/>
            </a:ln>
            <a:effectLst/>
          </p:spPr>
          <p:txBody>
            <a:bodyPr wrap="none" anchor="ctr"/>
            <a:lstStyle/>
            <a:p>
              <a:endParaRPr lang="en-US" sz="3266" dirty="0">
                <a:latin typeface="Lato Light" panose="020F0502020204030203" pitchFamily="34" charset="0"/>
              </a:endParaRPr>
            </a:p>
          </p:txBody>
        </p:sp>
      </p:grpSp>
      <p:sp>
        <p:nvSpPr>
          <p:cNvPr id="34" name="Subtitle 2">
            <a:extLst>
              <a:ext uri="{FF2B5EF4-FFF2-40B4-BE49-F238E27FC236}">
                <a16:creationId xmlns:a16="http://schemas.microsoft.com/office/drawing/2014/main" id="{7D667F03-4691-8140-9FB0-1BEE02B567F9}"/>
              </a:ext>
            </a:extLst>
          </p:cNvPr>
          <p:cNvSpPr txBox="1">
            <a:spLocks/>
          </p:cNvSpPr>
          <p:nvPr/>
        </p:nvSpPr>
        <p:spPr>
          <a:xfrm>
            <a:off x="1959586" y="1790907"/>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Build fiber and push fiber deeper in HFC networks</a:t>
            </a:r>
          </a:p>
        </p:txBody>
      </p:sp>
      <p:sp>
        <p:nvSpPr>
          <p:cNvPr id="35" name="TextBox 34">
            <a:extLst>
              <a:ext uri="{FF2B5EF4-FFF2-40B4-BE49-F238E27FC236}">
                <a16:creationId xmlns:a16="http://schemas.microsoft.com/office/drawing/2014/main" id="{A363A6D5-4641-0247-9426-DD9EAE7743E4}"/>
              </a:ext>
            </a:extLst>
          </p:cNvPr>
          <p:cNvSpPr txBox="1"/>
          <p:nvPr/>
        </p:nvSpPr>
        <p:spPr>
          <a:xfrm>
            <a:off x="1959586" y="1472718"/>
            <a:ext cx="2646878"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GROW FIBER FOOTPRINT</a:t>
            </a:r>
          </a:p>
        </p:txBody>
      </p:sp>
      <p:sp>
        <p:nvSpPr>
          <p:cNvPr id="38" name="Subtitle 2">
            <a:extLst>
              <a:ext uri="{FF2B5EF4-FFF2-40B4-BE49-F238E27FC236}">
                <a16:creationId xmlns:a16="http://schemas.microsoft.com/office/drawing/2014/main" id="{90FCC8DF-E291-E24D-AB6C-C37643D0214A}"/>
              </a:ext>
            </a:extLst>
          </p:cNvPr>
          <p:cNvSpPr txBox="1">
            <a:spLocks/>
          </p:cNvSpPr>
          <p:nvPr/>
        </p:nvSpPr>
        <p:spPr>
          <a:xfrm>
            <a:off x="7574078" y="1790907"/>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Expand core and subsea networks, increase 100G circuits in the network</a:t>
            </a:r>
          </a:p>
        </p:txBody>
      </p:sp>
      <p:sp>
        <p:nvSpPr>
          <p:cNvPr id="39" name="TextBox 38">
            <a:extLst>
              <a:ext uri="{FF2B5EF4-FFF2-40B4-BE49-F238E27FC236}">
                <a16:creationId xmlns:a16="http://schemas.microsoft.com/office/drawing/2014/main" id="{F0481E23-70C2-0345-BE95-65260433F840}"/>
              </a:ext>
            </a:extLst>
          </p:cNvPr>
          <p:cNvSpPr txBox="1"/>
          <p:nvPr/>
        </p:nvSpPr>
        <p:spPr>
          <a:xfrm>
            <a:off x="7365435" y="1450838"/>
            <a:ext cx="3321743"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EXPAND BACKBONE CAPACITY</a:t>
            </a:r>
          </a:p>
        </p:txBody>
      </p:sp>
      <p:sp>
        <p:nvSpPr>
          <p:cNvPr id="41" name="Subtitle 2">
            <a:extLst>
              <a:ext uri="{FF2B5EF4-FFF2-40B4-BE49-F238E27FC236}">
                <a16:creationId xmlns:a16="http://schemas.microsoft.com/office/drawing/2014/main" id="{1218B748-998B-4A49-AAE8-0DC5933708BC}"/>
              </a:ext>
            </a:extLst>
          </p:cNvPr>
          <p:cNvSpPr txBox="1">
            <a:spLocks/>
          </p:cNvSpPr>
          <p:nvPr/>
        </p:nvSpPr>
        <p:spPr>
          <a:xfrm>
            <a:off x="1959586" y="3482543"/>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Expand coverage and capacity in LTE and 5G networks</a:t>
            </a:r>
          </a:p>
        </p:txBody>
      </p:sp>
      <p:sp>
        <p:nvSpPr>
          <p:cNvPr id="42" name="TextBox 41">
            <a:extLst>
              <a:ext uri="{FF2B5EF4-FFF2-40B4-BE49-F238E27FC236}">
                <a16:creationId xmlns:a16="http://schemas.microsoft.com/office/drawing/2014/main" id="{61230D44-F3AD-0B4C-B61C-867E2208307A}"/>
              </a:ext>
            </a:extLst>
          </p:cNvPr>
          <p:cNvSpPr txBox="1"/>
          <p:nvPr/>
        </p:nvSpPr>
        <p:spPr>
          <a:xfrm>
            <a:off x="1959586" y="3164354"/>
            <a:ext cx="2906565"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EXPAND MOBILE NETWORK</a:t>
            </a:r>
          </a:p>
        </p:txBody>
      </p:sp>
      <p:sp>
        <p:nvSpPr>
          <p:cNvPr id="44" name="Subtitle 2">
            <a:extLst>
              <a:ext uri="{FF2B5EF4-FFF2-40B4-BE49-F238E27FC236}">
                <a16:creationId xmlns:a16="http://schemas.microsoft.com/office/drawing/2014/main" id="{9CA89A7E-3B03-9742-8391-5953C0BD5A29}"/>
              </a:ext>
            </a:extLst>
          </p:cNvPr>
          <p:cNvSpPr txBox="1">
            <a:spLocks/>
          </p:cNvSpPr>
          <p:nvPr/>
        </p:nvSpPr>
        <p:spPr>
          <a:xfrm>
            <a:off x="7574078" y="3482543"/>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Leverage Wow-Fi product to improve the in-home connected experience</a:t>
            </a:r>
          </a:p>
        </p:txBody>
      </p:sp>
      <p:sp>
        <p:nvSpPr>
          <p:cNvPr id="45" name="TextBox 44">
            <a:extLst>
              <a:ext uri="{FF2B5EF4-FFF2-40B4-BE49-F238E27FC236}">
                <a16:creationId xmlns:a16="http://schemas.microsoft.com/office/drawing/2014/main" id="{A03C882E-37F6-3843-94F6-41FCD5B2FD6D}"/>
              </a:ext>
            </a:extLst>
          </p:cNvPr>
          <p:cNvSpPr txBox="1"/>
          <p:nvPr/>
        </p:nvSpPr>
        <p:spPr>
          <a:xfrm>
            <a:off x="7574078" y="3164354"/>
            <a:ext cx="3373039"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IMPROVE IN-HOME EXPERIENCE</a:t>
            </a:r>
          </a:p>
        </p:txBody>
      </p:sp>
      <p:sp>
        <p:nvSpPr>
          <p:cNvPr id="47" name="Subtitle 2">
            <a:extLst>
              <a:ext uri="{FF2B5EF4-FFF2-40B4-BE49-F238E27FC236}">
                <a16:creationId xmlns:a16="http://schemas.microsoft.com/office/drawing/2014/main" id="{314E866B-4B5A-124C-B7AA-C4D63D28DBF9}"/>
              </a:ext>
            </a:extLst>
          </p:cNvPr>
          <p:cNvSpPr txBox="1">
            <a:spLocks/>
          </p:cNvSpPr>
          <p:nvPr/>
        </p:nvSpPr>
        <p:spPr>
          <a:xfrm>
            <a:off x="1959586" y="5053004"/>
            <a:ext cx="3592398" cy="738664"/>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Increase upstream speeds to support remote working and learning requirements</a:t>
            </a:r>
          </a:p>
        </p:txBody>
      </p:sp>
      <p:sp>
        <p:nvSpPr>
          <p:cNvPr id="48" name="TextBox 47">
            <a:extLst>
              <a:ext uri="{FF2B5EF4-FFF2-40B4-BE49-F238E27FC236}">
                <a16:creationId xmlns:a16="http://schemas.microsoft.com/office/drawing/2014/main" id="{5E9C6127-9C69-794C-A426-AFC7E2D1A085}"/>
              </a:ext>
            </a:extLst>
          </p:cNvPr>
          <p:cNvSpPr txBox="1"/>
          <p:nvPr/>
        </p:nvSpPr>
        <p:spPr>
          <a:xfrm>
            <a:off x="1959586" y="4821903"/>
            <a:ext cx="2940228"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MORE SYMMETRIC SERVICE</a:t>
            </a:r>
          </a:p>
        </p:txBody>
      </p:sp>
      <p:sp>
        <p:nvSpPr>
          <p:cNvPr id="50" name="Subtitle 2">
            <a:extLst>
              <a:ext uri="{FF2B5EF4-FFF2-40B4-BE49-F238E27FC236}">
                <a16:creationId xmlns:a16="http://schemas.microsoft.com/office/drawing/2014/main" id="{BA34825E-182B-CC4F-B907-019456243B05}"/>
              </a:ext>
            </a:extLst>
          </p:cNvPr>
          <p:cNvSpPr txBox="1">
            <a:spLocks/>
          </p:cNvSpPr>
          <p:nvPr/>
        </p:nvSpPr>
        <p:spPr>
          <a:xfrm>
            <a:off x="7574078" y="5140092"/>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Improve power resiliency and build additional redundancy in the networks</a:t>
            </a:r>
          </a:p>
        </p:txBody>
      </p:sp>
      <p:sp>
        <p:nvSpPr>
          <p:cNvPr id="51" name="TextBox 50">
            <a:extLst>
              <a:ext uri="{FF2B5EF4-FFF2-40B4-BE49-F238E27FC236}">
                <a16:creationId xmlns:a16="http://schemas.microsoft.com/office/drawing/2014/main" id="{930A2375-BED1-0B48-B11A-CBC9EC9B4541}"/>
              </a:ext>
            </a:extLst>
          </p:cNvPr>
          <p:cNvSpPr txBox="1"/>
          <p:nvPr/>
        </p:nvSpPr>
        <p:spPr>
          <a:xfrm>
            <a:off x="7574078" y="4821903"/>
            <a:ext cx="3393878"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IMPROVE NETWORK RESILIENCY</a:t>
            </a:r>
          </a:p>
        </p:txBody>
      </p:sp>
      <p:sp>
        <p:nvSpPr>
          <p:cNvPr id="6" name="Footer Placeholder 5">
            <a:extLst>
              <a:ext uri="{FF2B5EF4-FFF2-40B4-BE49-F238E27FC236}">
                <a16:creationId xmlns:a16="http://schemas.microsoft.com/office/drawing/2014/main" id="{DEB032FA-B63F-41D9-959E-EC4ECCA6FD1D}"/>
              </a:ext>
            </a:extLst>
          </p:cNvPr>
          <p:cNvSpPr>
            <a:spLocks noGrp="1"/>
          </p:cNvSpPr>
          <p:nvPr>
            <p:ph type="ftr" sz="quarter" idx="3"/>
          </p:nvPr>
        </p:nvSpPr>
        <p:spPr/>
        <p:txBody>
          <a:bodyPr/>
          <a:lstStyle/>
          <a:p>
            <a:r>
              <a:rPr lang="en-US">
                <a:solidFill>
                  <a:srgbClr val="FFFFFF"/>
                </a:solidFill>
              </a:rPr>
              <a:t>LIBERTY LATIN AMERICA | CANTO 2022 | JULY 18</a:t>
            </a:r>
          </a:p>
        </p:txBody>
      </p:sp>
      <p:sp>
        <p:nvSpPr>
          <p:cNvPr id="7" name="Slide Number Placeholder 6">
            <a:extLst>
              <a:ext uri="{FF2B5EF4-FFF2-40B4-BE49-F238E27FC236}">
                <a16:creationId xmlns:a16="http://schemas.microsoft.com/office/drawing/2014/main" id="{A75ED0A7-E322-FF1B-C133-C3BB26639C1B}"/>
              </a:ext>
            </a:extLst>
          </p:cNvPr>
          <p:cNvSpPr>
            <a:spLocks noGrp="1"/>
          </p:cNvSpPr>
          <p:nvPr>
            <p:ph type="sldNum" sz="quarter" idx="4"/>
          </p:nvPr>
        </p:nvSpPr>
        <p:spPr/>
        <p:txBody>
          <a:bodyPr/>
          <a:lstStyle/>
          <a:p>
            <a:fld id="{496097A3-845D-4C79-9B10-713A18711759}" type="slidenum">
              <a:rPr lang="en-US" smtClean="0"/>
              <a:pPr/>
              <a:t>16</a:t>
            </a:fld>
            <a:endParaRPr lang="en-US"/>
          </a:p>
        </p:txBody>
      </p:sp>
    </p:spTree>
    <p:extLst>
      <p:ext uri="{BB962C8B-B14F-4D97-AF65-F5344CB8AC3E}">
        <p14:creationId xmlns:p14="http://schemas.microsoft.com/office/powerpoint/2010/main" val="19925039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4BADCA-5CF4-F31E-04E6-142CC7BFCE3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761263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F44E1A-0AA6-633F-98E9-8F0798BF4F4E}"/>
              </a:ext>
            </a:extLst>
          </p:cNvPr>
          <p:cNvSpPr txBox="1"/>
          <p:nvPr/>
        </p:nvSpPr>
        <p:spPr>
          <a:xfrm>
            <a:off x="4460488" y="2756078"/>
            <a:ext cx="3271024" cy="830997"/>
          </a:xfrm>
          <a:prstGeom prst="rect">
            <a:avLst/>
          </a:prstGeom>
          <a:noFill/>
        </p:spPr>
        <p:txBody>
          <a:bodyPr wrap="none" lIns="0" tIns="0" rIns="0" bIns="0" rtlCol="0">
            <a:spAutoFit/>
          </a:bodyPr>
          <a:lstStyle/>
          <a:p>
            <a:pPr algn="ctr"/>
            <a:r>
              <a:rPr lang="en-PA" sz="5400" dirty="0">
                <a:solidFill>
                  <a:schemeClr val="bg2"/>
                </a:solidFill>
              </a:rPr>
              <a:t>Thank You</a:t>
            </a:r>
          </a:p>
        </p:txBody>
      </p:sp>
    </p:spTree>
    <p:extLst>
      <p:ext uri="{BB962C8B-B14F-4D97-AF65-F5344CB8AC3E}">
        <p14:creationId xmlns:p14="http://schemas.microsoft.com/office/powerpoint/2010/main" val="319478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8B687090-986F-524E-8EBE-0F91F56484AE}"/>
              </a:ext>
            </a:extLst>
          </p:cNvPr>
          <p:cNvSpPr txBox="1">
            <a:spLocks/>
          </p:cNvSpPr>
          <p:nvPr/>
        </p:nvSpPr>
        <p:spPr>
          <a:xfrm>
            <a:off x="391442" y="610068"/>
            <a:ext cx="10901115" cy="33153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600">
                <a:latin typeface="Arial" charset="0"/>
                <a:ea typeface="Arial" charset="0"/>
                <a:cs typeface="Arial" charset="0"/>
              </a:rPr>
              <a:t>IMPORTANT NOTICES</a:t>
            </a:r>
          </a:p>
        </p:txBody>
      </p:sp>
      <p:sp>
        <p:nvSpPr>
          <p:cNvPr id="34" name="Text Placeholder 2">
            <a:extLst>
              <a:ext uri="{FF2B5EF4-FFF2-40B4-BE49-F238E27FC236}">
                <a16:creationId xmlns:a16="http://schemas.microsoft.com/office/drawing/2014/main" id="{87E145CF-529E-45AF-9408-01A944A01D6A}"/>
              </a:ext>
            </a:extLst>
          </p:cNvPr>
          <p:cNvSpPr txBox="1">
            <a:spLocks/>
          </p:cNvSpPr>
          <p:nvPr/>
        </p:nvSpPr>
        <p:spPr>
          <a:xfrm>
            <a:off x="304934" y="1028156"/>
            <a:ext cx="11602586" cy="4480015"/>
          </a:xfrm>
          <a:prstGeom prst="rect">
            <a:avLst/>
          </a:prstGeom>
        </p:spPr>
        <p:txBody>
          <a:bodyPr wrap="square" numCol="2" spcCol="36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ts val="1320"/>
              </a:lnSpc>
              <a:spcBef>
                <a:spcPts val="600"/>
              </a:spcBef>
            </a:pPr>
            <a:r>
              <a:rPr lang="en-US" sz="850" b="1" dirty="0">
                <a:solidFill>
                  <a:srgbClr val="4F5252"/>
                </a:solidFill>
              </a:rPr>
              <a:t>Disclaimer</a:t>
            </a:r>
          </a:p>
          <a:p>
            <a:pPr algn="just">
              <a:lnSpc>
                <a:spcPts val="1320"/>
              </a:lnSpc>
              <a:spcBef>
                <a:spcPts val="600"/>
              </a:spcBef>
            </a:pPr>
            <a:r>
              <a:rPr lang="en-US" sz="850" dirty="0">
                <a:solidFill>
                  <a:srgbClr val="4F5252"/>
                </a:solidFill>
              </a:rPr>
              <a:t>This presentation and its contents are confidential and may not be reproduced, redistributed, published or passed on to any other person, directly or indirectly, in whole or in part, for any purpose. If this presentation has been received in error it must be returned immediately to Liberty Latin America Ltd. (“we,” “our” or the “Company”).  This presentation is not directed to, or intended for distribution to or use by, any person or entity that is a citizen or resident of, or located in, any locality, state, country or other jurisdiction where such distribution or use would be contrary to law or regulation or which would require any registration or licensing within such jurisdiction.  The Company makes no representation or warranty as to the accuracy or completeness of the information contained in this presentation and shall not have any liability for any representations (express or implied) regarding information contained herein, or for any omissions from, this information or any other written or oral communications transmitted to the recipient in the course of its evaluation of the Company.  This presentation is neither an offer to sell nor a solicitation of offers to purchase securities of the Company.  </a:t>
            </a:r>
          </a:p>
          <a:p>
            <a:pPr algn="just">
              <a:lnSpc>
                <a:spcPts val="1320"/>
              </a:lnSpc>
              <a:spcBef>
                <a:spcPts val="600"/>
              </a:spcBef>
            </a:pPr>
            <a:r>
              <a:rPr lang="en-US" sz="850" b="1" dirty="0">
                <a:solidFill>
                  <a:srgbClr val="4F5252"/>
                </a:solidFill>
              </a:rPr>
              <a:t>Forward Looking Statements</a:t>
            </a:r>
          </a:p>
          <a:p>
            <a:pPr algn="just">
              <a:lnSpc>
                <a:spcPts val="1320"/>
              </a:lnSpc>
              <a:spcBef>
                <a:spcPts val="600"/>
              </a:spcBef>
            </a:pPr>
            <a:r>
              <a:rPr lang="en-US" sz="800" dirty="0"/>
              <a:t>This presentation contains forward-looking statements within the meaning of the Private Securities Litigation Reform Act of 1995, including statements regarding our strategies, priorities and objectives, performance, guidance and growth expectations for 2022; our digital strategy, product innovation and commercial plans and projects; expectations on demand for connectivity in the region; our anticipated integration plans, synergies, opportunities and integration costs in Puerto Rico following the AT&amp;T Acquisition and in Costa Rica following the acquisition of Telefónica's Costa Rica business; the timing and impact of the acquisition of América </a:t>
            </a:r>
            <a:r>
              <a:rPr lang="en-US" sz="800" dirty="0" err="1"/>
              <a:t>Móvil’s</a:t>
            </a:r>
            <a:r>
              <a:rPr lang="en-US" sz="800" dirty="0"/>
              <a:t> Panama operations and the formation of a joint venture with América </a:t>
            </a:r>
            <a:r>
              <a:rPr lang="en-US" sz="800" dirty="0" err="1"/>
              <a:t>Móvil</a:t>
            </a:r>
            <a:r>
              <a:rPr lang="en-US" sz="800" dirty="0"/>
              <a:t> in Chile; the strength of our balance sheet and tenor of our debt; our share repurchase program; and other information and statements that are not historical fact. These forward-looking statements involve certain risks and uncertainties that could cause actual results to differ materially from those expressed or implied by these statements. These risks and uncertainties include events that are outside of our control, such as hurricanes and other natural disasters, political or social events, and pandemics, such as COVID-19, the uncertainties surrounding such events</a:t>
            </a:r>
          </a:p>
          <a:p>
            <a:pPr algn="just">
              <a:lnSpc>
                <a:spcPts val="1320"/>
              </a:lnSpc>
              <a:spcBef>
                <a:spcPts val="600"/>
              </a:spcBef>
            </a:pPr>
            <a:r>
              <a:rPr lang="en-US" sz="800" dirty="0"/>
              <a:t>and efforts to contain any pandemic, the ability and cost to restore networks in the markets impacted by hurricanes or generally to respond to any such events; the continued use by subscribers and potential subscribers of our services and their willingness to upgrade to our more advanced offerings; our ability to meet challenges from competition, to manage rapid technological change or to maintain or increase rates to our subscribers or to pass through increased costs to our subscribers; the effects of changes in laws or regulation; general economic factors; our ability to obtain regulatory approval and satisfy conditions associated with acquisitions and dispositions, including the acquisition of América </a:t>
            </a:r>
            <a:r>
              <a:rPr lang="en-US" sz="800" dirty="0" err="1"/>
              <a:t>Móvil’s</a:t>
            </a:r>
            <a:r>
              <a:rPr lang="en-US" sz="800" dirty="0"/>
              <a:t> Panama operations and the formation of a joint venture with América </a:t>
            </a:r>
            <a:r>
              <a:rPr lang="en-US" sz="800" dirty="0" err="1"/>
              <a:t>Móvil</a:t>
            </a:r>
            <a:r>
              <a:rPr lang="en-US" sz="800" dirty="0"/>
              <a:t> in Chile; our ability to successfully acquire and integrate new businesses and realize anticipated efficiencies from acquired businesses; the availability of attractive programming for our video services and the costs associated with such programming; our ability to achieve forecasted financial and operating targets; the outcome of any pending or threatened litigation; the ability of our operating companies to access cash of their respective subsidiaries; the impact of our operating companies' future financial performance, or market conditions generally, on the availability, terms and deployment of capital; fluctuations in currency exchange and interest rates; the ability of suppliers and vendors (including our third-party wireless network provider under our MVNO arrangement) to timely deliver quality products, equipment, software, services and access; our ability to adequately forecast and plan future network requirements including the costs and benefits associated with network expansions; and other factors detailed from time to time in our filings with the Securities and Exchange Commission, including our most recently filed Form 10-K and Form 10-Q. These forward-looking statements speak only as of the date of this presentation. We expressly disclaim any obligation or undertaking to disseminate any updates or revisions to any forward-looking statement contained herein to reflect any change in our expectations with regard thereto or any change in events, conditions or circumstances on which any such statement is based.</a:t>
            </a:r>
          </a:p>
          <a:p>
            <a:pPr algn="just">
              <a:lnSpc>
                <a:spcPts val="1320"/>
              </a:lnSpc>
              <a:spcBef>
                <a:spcPts val="600"/>
              </a:spcBef>
            </a:pPr>
            <a:r>
              <a:rPr lang="en-US" sz="850" b="1" dirty="0">
                <a:solidFill>
                  <a:srgbClr val="4F5252"/>
                </a:solidFill>
              </a:rPr>
              <a:t>Non-GAAP Measures</a:t>
            </a:r>
          </a:p>
          <a:p>
            <a:pPr algn="just" defTabSz="914261">
              <a:lnSpc>
                <a:spcPts val="1320"/>
              </a:lnSpc>
              <a:spcBef>
                <a:spcPts val="600"/>
              </a:spcBef>
              <a:defRPr/>
            </a:pPr>
            <a:r>
              <a:rPr lang="en-US" sz="800" dirty="0"/>
              <a:t>Please refer to the Appendix at the end of this presentation, as well as our SEC filings, for the definitions of the following terms which may be used herein including: Rebased Growth, Adjusted Operating Income Before Depreciation and Amortization (“Adjusted OIBDA”), Adjusted Free Cash Flow (“Adjusted FCF”), Revenue Generating Units (“RGUs”), as well as non-GAAP reconciliations, where applicable.</a:t>
            </a:r>
          </a:p>
        </p:txBody>
      </p:sp>
      <p:sp>
        <p:nvSpPr>
          <p:cNvPr id="3" name="Footer Placeholder 2">
            <a:extLst>
              <a:ext uri="{FF2B5EF4-FFF2-40B4-BE49-F238E27FC236}">
                <a16:creationId xmlns:a16="http://schemas.microsoft.com/office/drawing/2014/main" id="{AD53E72B-888A-4C98-933F-A6B4C4F04906}"/>
              </a:ext>
            </a:extLst>
          </p:cNvPr>
          <p:cNvSpPr>
            <a:spLocks noGrp="1"/>
          </p:cNvSpPr>
          <p:nvPr>
            <p:ph type="ftr" sz="quarter" idx="3"/>
          </p:nvPr>
        </p:nvSpPr>
        <p:spPr/>
        <p:txBody>
          <a:bodyPr/>
          <a:lstStyle/>
          <a:p>
            <a:r>
              <a:rPr lang="en-US">
                <a:solidFill>
                  <a:srgbClr val="FFFFFF"/>
                </a:solidFill>
              </a:rPr>
              <a:t>LIBERTY LATIN AMERICA | CANTO 2022 | JULY 18</a:t>
            </a:r>
          </a:p>
        </p:txBody>
      </p:sp>
      <p:sp>
        <p:nvSpPr>
          <p:cNvPr id="4" name="Slide Number Placeholder 3">
            <a:extLst>
              <a:ext uri="{FF2B5EF4-FFF2-40B4-BE49-F238E27FC236}">
                <a16:creationId xmlns:a16="http://schemas.microsoft.com/office/drawing/2014/main" id="{FD3E71F9-9FEA-42D0-AC07-0F85EFA5493D}"/>
              </a:ext>
            </a:extLst>
          </p:cNvPr>
          <p:cNvSpPr>
            <a:spLocks noGrp="1"/>
          </p:cNvSpPr>
          <p:nvPr>
            <p:ph type="sldNum" sz="quarter" idx="4"/>
          </p:nvPr>
        </p:nvSpPr>
        <p:spPr/>
        <p:txBody>
          <a:bodyPr/>
          <a:lstStyle/>
          <a:p>
            <a:fld id="{496097A3-845D-4C79-9B10-713A18711759}" type="slidenum">
              <a:rPr lang="en-US" smtClean="0"/>
              <a:pPr/>
              <a:t>2</a:t>
            </a:fld>
            <a:endParaRPr lang="en-US"/>
          </a:p>
        </p:txBody>
      </p:sp>
    </p:spTree>
    <p:extLst>
      <p:ext uri="{BB962C8B-B14F-4D97-AF65-F5344CB8AC3E}">
        <p14:creationId xmlns:p14="http://schemas.microsoft.com/office/powerpoint/2010/main" val="999629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308080" y="179681"/>
            <a:ext cx="641084" cy="799567"/>
          </a:xfrm>
          <a:prstGeom prst="rect">
            <a:avLst/>
          </a:prstGeom>
        </p:spPr>
      </p:pic>
      <p:pic>
        <p:nvPicPr>
          <p:cNvPr id="2" name="Picture 1"/>
          <p:cNvPicPr>
            <a:picLocks noChangeAspect="1"/>
          </p:cNvPicPr>
          <p:nvPr/>
        </p:nvPicPr>
        <p:blipFill>
          <a:blip r:embed="rId3"/>
          <a:stretch>
            <a:fillRect/>
          </a:stretch>
        </p:blipFill>
        <p:spPr>
          <a:xfrm>
            <a:off x="426040" y="395314"/>
            <a:ext cx="2451100" cy="368300"/>
          </a:xfrm>
          <a:prstGeom prst="rect">
            <a:avLst/>
          </a:prstGeom>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0288" y="1977656"/>
            <a:ext cx="10631424" cy="2902688"/>
          </a:xfrm>
          <a:prstGeom prst="rect">
            <a:avLst/>
          </a:prstGeom>
        </p:spPr>
      </p:pic>
    </p:spTree>
    <p:extLst>
      <p:ext uri="{BB962C8B-B14F-4D97-AF65-F5344CB8AC3E}">
        <p14:creationId xmlns:p14="http://schemas.microsoft.com/office/powerpoint/2010/main" val="31457005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51650C43-A3AC-CD6B-F776-41D4FB919F53}"/>
              </a:ext>
            </a:extLst>
          </p:cNvPr>
          <p:cNvGraphicFramePr>
            <a:graphicFrameLocks noChangeAspect="1"/>
          </p:cNvGraphicFramePr>
          <p:nvPr>
            <p:custDataLst>
              <p:tags r:id="rId1"/>
            </p:custDataLst>
            <p:extLst>
              <p:ext uri="{D42A27DB-BD31-4B8C-83A1-F6EECF244321}">
                <p14:modId xmlns:p14="http://schemas.microsoft.com/office/powerpoint/2010/main" val="1313557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D4098C5-C2A7-D670-EF7A-70A4156EFE67}"/>
              </a:ext>
            </a:extLst>
          </p:cNvPr>
          <p:cNvPicPr>
            <a:picLocks noChangeAspect="1"/>
          </p:cNvPicPr>
          <p:nvPr/>
        </p:nvPicPr>
        <p:blipFill>
          <a:blip r:embed="rId5"/>
          <a:stretch>
            <a:fillRect/>
          </a:stretch>
        </p:blipFill>
        <p:spPr>
          <a:xfrm>
            <a:off x="127819" y="494258"/>
            <a:ext cx="5666742" cy="6184725"/>
          </a:xfrm>
          <a:prstGeom prst="rect">
            <a:avLst/>
          </a:prstGeom>
        </p:spPr>
      </p:pic>
      <p:sp>
        <p:nvSpPr>
          <p:cNvPr id="4" name="Title 1">
            <a:extLst>
              <a:ext uri="{FF2B5EF4-FFF2-40B4-BE49-F238E27FC236}">
                <a16:creationId xmlns:a16="http://schemas.microsoft.com/office/drawing/2014/main" id="{32FE9DF2-E28A-DD55-EDE1-BF4E615C2B8A}"/>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LLA Highlights</a:t>
            </a:r>
          </a:p>
          <a:p>
            <a:endParaRPr lang="en-US" sz="2800" dirty="0"/>
          </a:p>
        </p:txBody>
      </p:sp>
      <p:grpSp>
        <p:nvGrpSpPr>
          <p:cNvPr id="6" name="Group 5">
            <a:extLst>
              <a:ext uri="{FF2B5EF4-FFF2-40B4-BE49-F238E27FC236}">
                <a16:creationId xmlns:a16="http://schemas.microsoft.com/office/drawing/2014/main" id="{3A260E68-5809-2A3C-926F-F7BDA9831D37}"/>
              </a:ext>
            </a:extLst>
          </p:cNvPr>
          <p:cNvGrpSpPr/>
          <p:nvPr/>
        </p:nvGrpSpPr>
        <p:grpSpPr>
          <a:xfrm>
            <a:off x="4833119" y="719762"/>
            <a:ext cx="7231062" cy="5418475"/>
            <a:chOff x="5095848" y="702693"/>
            <a:chExt cx="7231062" cy="5418475"/>
          </a:xfrm>
        </p:grpSpPr>
        <p:sp>
          <p:nvSpPr>
            <p:cNvPr id="7" name="Freeform: Shape 6">
              <a:extLst>
                <a:ext uri="{FF2B5EF4-FFF2-40B4-BE49-F238E27FC236}">
                  <a16:creationId xmlns:a16="http://schemas.microsoft.com/office/drawing/2014/main" id="{FB0DB47B-4975-3E85-BC87-5A50A6A6CD70}"/>
                </a:ext>
              </a:extLst>
            </p:cNvPr>
            <p:cNvSpPr/>
            <p:nvPr/>
          </p:nvSpPr>
          <p:spPr>
            <a:xfrm>
              <a:off x="8284747" y="702693"/>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0" tIns="431121" rIns="274320" bIns="431121" numCol="1" spcCol="1270" anchor="ctr" anchorCtr="0">
              <a:noAutofit/>
            </a:bodyPr>
            <a:lstStyle/>
            <a:p>
              <a:pPr marL="0" lvl="0" indent="0" algn="ctr" defTabSz="1377950">
                <a:lnSpc>
                  <a:spcPct val="90000"/>
                </a:lnSpc>
                <a:spcBef>
                  <a:spcPct val="0"/>
                </a:spcBef>
                <a:spcAft>
                  <a:spcPct val="35000"/>
                </a:spcAft>
                <a:buNone/>
              </a:pPr>
              <a:r>
                <a:rPr lang="en-US" sz="2800" b="1" kern="1200" dirty="0"/>
                <a:t>20+</a:t>
              </a:r>
            </a:p>
            <a:p>
              <a:pPr marL="0" lvl="0" indent="0" algn="ctr" defTabSz="1377950">
                <a:lnSpc>
                  <a:spcPct val="90000"/>
                </a:lnSpc>
                <a:spcBef>
                  <a:spcPct val="0"/>
                </a:spcBef>
                <a:spcAft>
                  <a:spcPct val="35000"/>
                </a:spcAft>
                <a:buNone/>
              </a:pPr>
              <a:r>
                <a:rPr lang="en-US" sz="1600" dirty="0"/>
                <a:t>Consumer</a:t>
              </a:r>
            </a:p>
            <a:p>
              <a:pPr marL="0" lvl="0" indent="0" algn="ctr" defTabSz="1377950">
                <a:lnSpc>
                  <a:spcPct val="90000"/>
                </a:lnSpc>
                <a:spcBef>
                  <a:spcPct val="0"/>
                </a:spcBef>
                <a:spcAft>
                  <a:spcPct val="35000"/>
                </a:spcAft>
                <a:buNone/>
              </a:pPr>
              <a:r>
                <a:rPr lang="en-US" sz="1600" kern="1200" dirty="0"/>
                <a:t>Markets</a:t>
              </a:r>
            </a:p>
          </p:txBody>
        </p:sp>
        <p:sp>
          <p:nvSpPr>
            <p:cNvPr id="8" name="Rectangle 7">
              <a:extLst>
                <a:ext uri="{FF2B5EF4-FFF2-40B4-BE49-F238E27FC236}">
                  <a16:creationId xmlns:a16="http://schemas.microsoft.com/office/drawing/2014/main" id="{5E6210E7-5E61-E914-D042-095D9FC09341}"/>
                </a:ext>
              </a:extLst>
            </p:cNvPr>
            <p:cNvSpPr/>
            <p:nvPr/>
          </p:nvSpPr>
          <p:spPr>
            <a:xfrm>
              <a:off x="10085281" y="1104419"/>
              <a:ext cx="2241629" cy="12051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PA"/>
            </a:p>
          </p:txBody>
        </p:sp>
        <p:sp>
          <p:nvSpPr>
            <p:cNvPr id="10" name="Freeform: Shape 9">
              <a:extLst>
                <a:ext uri="{FF2B5EF4-FFF2-40B4-BE49-F238E27FC236}">
                  <a16:creationId xmlns:a16="http://schemas.microsoft.com/office/drawing/2014/main" id="{CD1F3F58-2808-E422-991A-6C3915AB58B2}"/>
                </a:ext>
              </a:extLst>
            </p:cNvPr>
            <p:cNvSpPr/>
            <p:nvPr/>
          </p:nvSpPr>
          <p:spPr>
            <a:xfrm>
              <a:off x="7337478" y="2407617"/>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0" tIns="431121" rIns="274320" bIns="431121" numCol="1" spcCol="1270" anchor="ctr" anchorCtr="0">
              <a:noAutofit/>
            </a:bodyPr>
            <a:lstStyle/>
            <a:p>
              <a:pPr marL="0" lvl="0" indent="0" algn="ctr" defTabSz="1377950">
                <a:lnSpc>
                  <a:spcPct val="90000"/>
                </a:lnSpc>
                <a:spcBef>
                  <a:spcPct val="0"/>
                </a:spcBef>
                <a:spcAft>
                  <a:spcPct val="35000"/>
                </a:spcAft>
                <a:buNone/>
              </a:pPr>
              <a:r>
                <a:rPr lang="en-US" sz="2400" b="1" kern="1200" dirty="0"/>
                <a:t>6.5 Million</a:t>
              </a:r>
            </a:p>
            <a:p>
              <a:pPr marL="0" lvl="0" indent="0" algn="ctr" defTabSz="1377950">
                <a:lnSpc>
                  <a:spcPct val="90000"/>
                </a:lnSpc>
                <a:spcBef>
                  <a:spcPct val="0"/>
                </a:spcBef>
                <a:spcAft>
                  <a:spcPct val="35000"/>
                </a:spcAft>
                <a:buNone/>
              </a:pPr>
              <a:r>
                <a:rPr lang="en-US" sz="1600" kern="1200" dirty="0"/>
                <a:t>Fixed RGUs</a:t>
              </a:r>
              <a:r>
                <a:rPr lang="en-US" sz="1600" baseline="30000" dirty="0"/>
                <a:t>2</a:t>
              </a:r>
              <a:endParaRPr lang="en-US" sz="1600" kern="1200" baseline="30000" dirty="0"/>
            </a:p>
          </p:txBody>
        </p:sp>
        <p:sp>
          <p:nvSpPr>
            <p:cNvPr id="11" name="Rectangle 10">
              <a:extLst>
                <a:ext uri="{FF2B5EF4-FFF2-40B4-BE49-F238E27FC236}">
                  <a16:creationId xmlns:a16="http://schemas.microsoft.com/office/drawing/2014/main" id="{02076DA4-C3E4-54F6-8306-9145FDEFEF60}"/>
                </a:ext>
              </a:extLst>
            </p:cNvPr>
            <p:cNvSpPr/>
            <p:nvPr/>
          </p:nvSpPr>
          <p:spPr>
            <a:xfrm>
              <a:off x="5095848" y="2809342"/>
              <a:ext cx="2169318" cy="12051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PA"/>
            </a:p>
          </p:txBody>
        </p:sp>
        <p:sp>
          <p:nvSpPr>
            <p:cNvPr id="12" name="Freeform: Shape 11">
              <a:extLst>
                <a:ext uri="{FF2B5EF4-FFF2-40B4-BE49-F238E27FC236}">
                  <a16:creationId xmlns:a16="http://schemas.microsoft.com/office/drawing/2014/main" id="{837A5F2F-089A-4AE8-587F-5C13F790F885}"/>
                </a:ext>
              </a:extLst>
            </p:cNvPr>
            <p:cNvSpPr/>
            <p:nvPr/>
          </p:nvSpPr>
          <p:spPr>
            <a:xfrm>
              <a:off x="9224785" y="2407617"/>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377950">
                <a:lnSpc>
                  <a:spcPct val="90000"/>
                </a:lnSpc>
                <a:spcBef>
                  <a:spcPct val="0"/>
                </a:spcBef>
                <a:spcAft>
                  <a:spcPct val="35000"/>
                </a:spcAft>
              </a:pPr>
              <a:r>
                <a:rPr lang="en-US" sz="2400" b="1" dirty="0"/>
                <a:t>8.4 Million</a:t>
              </a:r>
            </a:p>
            <a:p>
              <a:pPr lvl="0" algn="ctr" defTabSz="1377950">
                <a:lnSpc>
                  <a:spcPct val="90000"/>
                </a:lnSpc>
                <a:spcBef>
                  <a:spcPct val="0"/>
                </a:spcBef>
                <a:spcAft>
                  <a:spcPct val="35000"/>
                </a:spcAft>
              </a:pPr>
              <a:r>
                <a:rPr lang="en-US" sz="1600" dirty="0"/>
                <a:t>Homes Passed</a:t>
              </a:r>
              <a:r>
                <a:rPr lang="en-US" sz="1600" baseline="30000" dirty="0"/>
                <a:t>2</a:t>
              </a:r>
              <a:endParaRPr lang="en-US" sz="1600" kern="1200" baseline="30000" dirty="0"/>
            </a:p>
          </p:txBody>
        </p:sp>
        <p:sp>
          <p:nvSpPr>
            <p:cNvPr id="13" name="Freeform: Shape 12">
              <a:extLst>
                <a:ext uri="{FF2B5EF4-FFF2-40B4-BE49-F238E27FC236}">
                  <a16:creationId xmlns:a16="http://schemas.microsoft.com/office/drawing/2014/main" id="{7B4EE36F-D0F7-AC4F-B9A3-5F6E38839DAD}"/>
                </a:ext>
              </a:extLst>
            </p:cNvPr>
            <p:cNvSpPr/>
            <p:nvPr/>
          </p:nvSpPr>
          <p:spPr>
            <a:xfrm>
              <a:off x="8284747" y="4112540"/>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0430" tIns="431121" rIns="390430" bIns="431121" numCol="1" spcCol="1270" anchor="ctr" anchorCtr="0">
              <a:noAutofit/>
            </a:bodyPr>
            <a:lstStyle/>
            <a:p>
              <a:pPr marL="0" lvl="0" indent="0" algn="ctr" defTabSz="1377950">
                <a:lnSpc>
                  <a:spcPct val="90000"/>
                </a:lnSpc>
                <a:spcBef>
                  <a:spcPct val="0"/>
                </a:spcBef>
                <a:spcAft>
                  <a:spcPct val="35000"/>
                </a:spcAft>
                <a:buNone/>
              </a:pPr>
              <a:r>
                <a:rPr lang="en-US" sz="2400" b="1" dirty="0"/>
                <a:t>$4.9 </a:t>
              </a:r>
              <a:r>
                <a:rPr lang="en-US" sz="2400" b="1" kern="1200" dirty="0"/>
                <a:t>Billion</a:t>
              </a:r>
            </a:p>
            <a:p>
              <a:pPr marL="0" lvl="0" indent="0" algn="ctr" defTabSz="1377950">
                <a:lnSpc>
                  <a:spcPct val="90000"/>
                </a:lnSpc>
                <a:spcBef>
                  <a:spcPct val="0"/>
                </a:spcBef>
                <a:spcAft>
                  <a:spcPct val="35000"/>
                </a:spcAft>
                <a:buNone/>
              </a:pPr>
              <a:r>
                <a:rPr lang="en-US" sz="1600" dirty="0"/>
                <a:t>Revenue</a:t>
              </a:r>
              <a:r>
                <a:rPr lang="en-US" sz="1600" baseline="30000" dirty="0"/>
                <a:t>1</a:t>
              </a:r>
              <a:endParaRPr lang="en-US" kern="1200" baseline="30000" dirty="0"/>
            </a:p>
          </p:txBody>
        </p:sp>
        <p:sp>
          <p:nvSpPr>
            <p:cNvPr id="14" name="Rectangle 13">
              <a:extLst>
                <a:ext uri="{FF2B5EF4-FFF2-40B4-BE49-F238E27FC236}">
                  <a16:creationId xmlns:a16="http://schemas.microsoft.com/office/drawing/2014/main" id="{ED7998C6-B59D-F76F-50AE-7015AC542AD4}"/>
                </a:ext>
              </a:extLst>
            </p:cNvPr>
            <p:cNvSpPr/>
            <p:nvPr/>
          </p:nvSpPr>
          <p:spPr>
            <a:xfrm>
              <a:off x="10085281" y="4514266"/>
              <a:ext cx="2241629" cy="12051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PA"/>
            </a:p>
          </p:txBody>
        </p:sp>
        <p:sp>
          <p:nvSpPr>
            <p:cNvPr id="16" name="Freeform: Shape 15">
              <a:extLst>
                <a:ext uri="{FF2B5EF4-FFF2-40B4-BE49-F238E27FC236}">
                  <a16:creationId xmlns:a16="http://schemas.microsoft.com/office/drawing/2014/main" id="{9AFF9741-6241-6DE6-5B67-B32DBAD35A4A}"/>
                </a:ext>
              </a:extLst>
            </p:cNvPr>
            <p:cNvSpPr/>
            <p:nvPr/>
          </p:nvSpPr>
          <p:spPr>
            <a:xfrm>
              <a:off x="10151566" y="4112540"/>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0430" tIns="431121" rIns="390430" bIns="431121" numCol="1" spcCol="1270" anchor="ctr" anchorCtr="0">
              <a:noAutofit/>
            </a:bodyPr>
            <a:lstStyle/>
            <a:p>
              <a:pPr marL="0" lvl="0" indent="0" algn="ctr" defTabSz="1377950">
                <a:lnSpc>
                  <a:spcPct val="90000"/>
                </a:lnSpc>
                <a:spcBef>
                  <a:spcPct val="0"/>
                </a:spcBef>
                <a:spcAft>
                  <a:spcPct val="35000"/>
                </a:spcAft>
                <a:buNone/>
              </a:pPr>
              <a:r>
                <a:rPr lang="en-US" sz="2400" b="1" kern="1200" dirty="0"/>
                <a:t>7.6 Million</a:t>
              </a:r>
            </a:p>
            <a:p>
              <a:pPr marL="0" lvl="0" indent="0" algn="ctr" defTabSz="1377950">
                <a:lnSpc>
                  <a:spcPct val="90000"/>
                </a:lnSpc>
                <a:spcBef>
                  <a:spcPct val="0"/>
                </a:spcBef>
                <a:spcAft>
                  <a:spcPct val="35000"/>
                </a:spcAft>
                <a:buNone/>
              </a:pPr>
              <a:r>
                <a:rPr lang="en-US" sz="1600" dirty="0"/>
                <a:t>Mobile Subs</a:t>
              </a:r>
              <a:r>
                <a:rPr lang="en-US" sz="1600" baseline="30000" dirty="0"/>
                <a:t>2</a:t>
              </a:r>
              <a:endParaRPr lang="en-US" sz="1600" kern="1200" baseline="30000" dirty="0"/>
            </a:p>
          </p:txBody>
        </p:sp>
      </p:grpSp>
      <p:sp>
        <p:nvSpPr>
          <p:cNvPr id="15" name="Freeform: Shape 12">
            <a:extLst>
              <a:ext uri="{FF2B5EF4-FFF2-40B4-BE49-F238E27FC236}">
                <a16:creationId xmlns:a16="http://schemas.microsoft.com/office/drawing/2014/main" id="{7ADC05B0-D8F1-2AB2-CF03-1E8779E5FAA8}"/>
              </a:ext>
            </a:extLst>
          </p:cNvPr>
          <p:cNvSpPr/>
          <p:nvPr/>
        </p:nvSpPr>
        <p:spPr>
          <a:xfrm>
            <a:off x="6156877" y="4129609"/>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0430" tIns="431121" rIns="390430" bIns="431121" numCol="1" spcCol="1270" anchor="ctr" anchorCtr="0">
            <a:noAutofit/>
          </a:bodyPr>
          <a:lstStyle/>
          <a:p>
            <a:pPr marL="0" lvl="0" indent="0" algn="ctr" defTabSz="1377950">
              <a:lnSpc>
                <a:spcPct val="90000"/>
              </a:lnSpc>
              <a:spcBef>
                <a:spcPct val="0"/>
              </a:spcBef>
              <a:buNone/>
            </a:pPr>
            <a:r>
              <a:rPr lang="en-US" sz="2400" b="1" dirty="0"/>
              <a:t>50K</a:t>
            </a:r>
            <a:endParaRPr lang="en-US" sz="2400" b="1" kern="1200" dirty="0"/>
          </a:p>
          <a:p>
            <a:pPr marL="0" lvl="0" indent="0" algn="ctr" defTabSz="1377950">
              <a:lnSpc>
                <a:spcPct val="90000"/>
              </a:lnSpc>
              <a:spcBef>
                <a:spcPct val="0"/>
              </a:spcBef>
              <a:buNone/>
            </a:pPr>
            <a:r>
              <a:rPr lang="en-US" sz="2400" b="1" dirty="0"/>
              <a:t>Km</a:t>
            </a:r>
            <a:r>
              <a:rPr lang="en-US" dirty="0"/>
              <a:t> </a:t>
            </a:r>
          </a:p>
          <a:p>
            <a:pPr marL="0" lvl="0" indent="0" algn="ctr" defTabSz="1377950">
              <a:lnSpc>
                <a:spcPct val="90000"/>
              </a:lnSpc>
              <a:spcBef>
                <a:spcPts val="600"/>
              </a:spcBef>
              <a:buNone/>
            </a:pPr>
            <a:r>
              <a:rPr lang="en-US" sz="1600" dirty="0"/>
              <a:t>Undersea Cable</a:t>
            </a:r>
            <a:endParaRPr lang="en-US" kern="1200" dirty="0"/>
          </a:p>
        </p:txBody>
      </p:sp>
      <p:sp>
        <p:nvSpPr>
          <p:cNvPr id="9" name="Footer Placeholder 8">
            <a:extLst>
              <a:ext uri="{FF2B5EF4-FFF2-40B4-BE49-F238E27FC236}">
                <a16:creationId xmlns:a16="http://schemas.microsoft.com/office/drawing/2014/main" id="{DB393609-B115-1482-A06E-F8A8ED0ED447}"/>
              </a:ext>
            </a:extLst>
          </p:cNvPr>
          <p:cNvSpPr>
            <a:spLocks noGrp="1"/>
          </p:cNvSpPr>
          <p:nvPr>
            <p:ph type="ftr" sz="quarter" idx="3"/>
          </p:nvPr>
        </p:nvSpPr>
        <p:spPr/>
        <p:txBody>
          <a:bodyPr/>
          <a:lstStyle/>
          <a:p>
            <a:r>
              <a:rPr lang="en-US" dirty="0"/>
              <a:t>LIBERTY LATIN AMERICA | CANTO 2022 | JULY 18</a:t>
            </a:r>
          </a:p>
        </p:txBody>
      </p:sp>
      <p:sp>
        <p:nvSpPr>
          <p:cNvPr id="20" name="Slide Number Placeholder 19">
            <a:extLst>
              <a:ext uri="{FF2B5EF4-FFF2-40B4-BE49-F238E27FC236}">
                <a16:creationId xmlns:a16="http://schemas.microsoft.com/office/drawing/2014/main" id="{1770F09D-7E5C-C1C0-3C65-0FE4F8BA7A53}"/>
              </a:ext>
            </a:extLst>
          </p:cNvPr>
          <p:cNvSpPr>
            <a:spLocks noGrp="1"/>
          </p:cNvSpPr>
          <p:nvPr>
            <p:ph type="sldNum" sz="quarter" idx="4"/>
          </p:nvPr>
        </p:nvSpPr>
        <p:spPr/>
        <p:txBody>
          <a:bodyPr/>
          <a:lstStyle/>
          <a:p>
            <a:fld id="{496097A3-845D-4C79-9B10-713A18711759}" type="slidenum">
              <a:rPr lang="en-US" smtClean="0"/>
              <a:pPr/>
              <a:t>4</a:t>
            </a:fld>
            <a:endParaRPr lang="en-US"/>
          </a:p>
        </p:txBody>
      </p:sp>
      <p:sp>
        <p:nvSpPr>
          <p:cNvPr id="22" name="TextBox 21">
            <a:extLst>
              <a:ext uri="{FF2B5EF4-FFF2-40B4-BE49-F238E27FC236}">
                <a16:creationId xmlns:a16="http://schemas.microsoft.com/office/drawing/2014/main" id="{E6918041-9959-9BE5-A742-BC0B15DC7B7F}"/>
              </a:ext>
            </a:extLst>
          </p:cNvPr>
          <p:cNvSpPr txBox="1"/>
          <p:nvPr/>
        </p:nvSpPr>
        <p:spPr>
          <a:xfrm>
            <a:off x="4132701" y="6375856"/>
            <a:ext cx="7778633" cy="430887"/>
          </a:xfrm>
          <a:prstGeom prst="rect">
            <a:avLst/>
          </a:prstGeom>
          <a:noFill/>
        </p:spPr>
        <p:txBody>
          <a:bodyPr wrap="square">
            <a:spAutoFit/>
          </a:bodyPr>
          <a:lstStyle/>
          <a:p>
            <a:r>
              <a:rPr lang="en-US" sz="1100" b="0" i="0" dirty="0">
                <a:solidFill>
                  <a:srgbClr val="4B4C4C"/>
                </a:solidFill>
                <a:effectLst/>
                <a:latin typeface="Helvetica Neue"/>
              </a:rPr>
              <a:t>1 Revenue for the three months ended March 31, 2022, annualized. Due to rounding, certain totals may not recalculate.</a:t>
            </a:r>
          </a:p>
          <a:p>
            <a:r>
              <a:rPr lang="en-US" sz="1100" b="0" i="0" dirty="0">
                <a:solidFill>
                  <a:srgbClr val="4B4C4C"/>
                </a:solidFill>
                <a:effectLst/>
                <a:latin typeface="Helvetica Neue"/>
              </a:rPr>
              <a:t>2 Operating data as of March 31, 2022. Due to rounding, certain totals may not recalculate.</a:t>
            </a:r>
            <a:endParaRPr lang="en-US" sz="1100" dirty="0"/>
          </a:p>
        </p:txBody>
      </p:sp>
    </p:spTree>
    <p:extLst>
      <p:ext uri="{BB962C8B-B14F-4D97-AF65-F5344CB8AC3E}">
        <p14:creationId xmlns:p14="http://schemas.microsoft.com/office/powerpoint/2010/main" val="6659339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60658836-B856-B900-E426-BE088ED45C79}"/>
              </a:ext>
            </a:extLst>
          </p:cNvPr>
          <p:cNvGraphicFramePr>
            <a:graphicFrameLocks noChangeAspect="1"/>
          </p:cNvGraphicFramePr>
          <p:nvPr>
            <p:custDataLst>
              <p:tags r:id="rId1"/>
            </p:custDataLst>
            <p:extLst>
              <p:ext uri="{D42A27DB-BD31-4B8C-83A1-F6EECF244321}">
                <p14:modId xmlns:p14="http://schemas.microsoft.com/office/powerpoint/2010/main" val="4204525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52" name="Object 51" hidden="1">
                        <a:extLst>
                          <a:ext uri="{FF2B5EF4-FFF2-40B4-BE49-F238E27FC236}">
                            <a16:creationId xmlns:a16="http://schemas.microsoft.com/office/drawing/2014/main" id="{60658836-B856-B900-E426-BE088ED45C79}"/>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C81F5D4-0718-97B4-A116-A15991BC0CC9}"/>
              </a:ext>
            </a:extLst>
          </p:cNvPr>
          <p:cNvSpPr/>
          <p:nvPr/>
        </p:nvSpPr>
        <p:spPr>
          <a:xfrm>
            <a:off x="148281" y="1023337"/>
            <a:ext cx="3712519" cy="53710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0FB1ED9-4BE3-1DDA-8A7F-36306E883F5C}"/>
              </a:ext>
            </a:extLst>
          </p:cNvPr>
          <p:cNvSpPr/>
          <p:nvPr/>
        </p:nvSpPr>
        <p:spPr>
          <a:xfrm>
            <a:off x="8231188" y="1023337"/>
            <a:ext cx="3837921" cy="53710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8" name="Chart 47">
            <a:extLst>
              <a:ext uri="{FF2B5EF4-FFF2-40B4-BE49-F238E27FC236}">
                <a16:creationId xmlns:a16="http://schemas.microsoft.com/office/drawing/2014/main" id="{336EFAFF-C910-CE83-4CA1-B9015BF8B19E}"/>
              </a:ext>
            </a:extLst>
          </p:cNvPr>
          <p:cNvGraphicFramePr/>
          <p:nvPr>
            <p:custDataLst>
              <p:tags r:id="rId2"/>
            </p:custDataLst>
            <p:extLst>
              <p:ext uri="{D42A27DB-BD31-4B8C-83A1-F6EECF244321}">
                <p14:modId xmlns:p14="http://schemas.microsoft.com/office/powerpoint/2010/main" val="2961997673"/>
              </p:ext>
            </p:extLst>
          </p:nvPr>
        </p:nvGraphicFramePr>
        <p:xfrm>
          <a:off x="636588" y="2198688"/>
          <a:ext cx="2946400" cy="2946400"/>
        </p:xfrm>
        <a:graphic>
          <a:graphicData uri="http://schemas.openxmlformats.org/drawingml/2006/chart">
            <c:chart xmlns:c="http://schemas.openxmlformats.org/drawingml/2006/chart" xmlns:r="http://schemas.openxmlformats.org/officeDocument/2006/relationships" r:id="rId16"/>
          </a:graphicData>
        </a:graphic>
      </p:graphicFrame>
      <p:sp>
        <p:nvSpPr>
          <p:cNvPr id="12" name="TextBox 11">
            <a:extLst>
              <a:ext uri="{FF2B5EF4-FFF2-40B4-BE49-F238E27FC236}">
                <a16:creationId xmlns:a16="http://schemas.microsoft.com/office/drawing/2014/main" id="{D92CF72F-2B39-CC93-CB79-DC58DA29FB17}"/>
              </a:ext>
            </a:extLst>
          </p:cNvPr>
          <p:cNvSpPr txBox="1"/>
          <p:nvPr/>
        </p:nvSpPr>
        <p:spPr>
          <a:xfrm>
            <a:off x="360952" y="1082398"/>
            <a:ext cx="3222036" cy="246221"/>
          </a:xfrm>
          <a:prstGeom prst="rect">
            <a:avLst/>
          </a:prstGeom>
        </p:spPr>
        <p:txBody>
          <a:bodyPr vert="horz" wrap="none" lIns="0" tIns="0" rIns="0" bIns="0" rtlCol="0" anchor="t" anchorCtr="0">
            <a:spAutoFit/>
          </a:bodyPr>
          <a:lstStyle/>
          <a:p>
            <a:r>
              <a:rPr lang="en-US" sz="1600" b="1" dirty="0">
                <a:solidFill>
                  <a:schemeClr val="bg2"/>
                </a:solidFill>
              </a:rPr>
              <a:t>FIXED NETWORK TECHNOLOGY</a:t>
            </a:r>
          </a:p>
        </p:txBody>
      </p:sp>
      <p:sp>
        <p:nvSpPr>
          <p:cNvPr id="13" name="TextBox 12">
            <a:extLst>
              <a:ext uri="{FF2B5EF4-FFF2-40B4-BE49-F238E27FC236}">
                <a16:creationId xmlns:a16="http://schemas.microsoft.com/office/drawing/2014/main" id="{C9C6EBB5-1AB0-A9F2-C424-53AC1D4D40A8}"/>
              </a:ext>
            </a:extLst>
          </p:cNvPr>
          <p:cNvSpPr txBox="1"/>
          <p:nvPr/>
        </p:nvSpPr>
        <p:spPr>
          <a:xfrm>
            <a:off x="1506538" y="2963863"/>
            <a:ext cx="1235075" cy="1354138"/>
          </a:xfrm>
          <a:prstGeom prst="rect">
            <a:avLst/>
          </a:prstGeom>
        </p:spPr>
        <p:txBody>
          <a:bodyPr vert="horz" wrap="none" lIns="0" tIns="0" rIns="0" bIns="0" rtlCol="0" anchor="t" anchorCtr="0">
            <a:spAutoFit/>
          </a:bodyPr>
          <a:lstStyle/>
          <a:p>
            <a:pPr algn="ctr"/>
            <a:r>
              <a:rPr lang="en-US" sz="2800" b="1" dirty="0">
                <a:solidFill>
                  <a:schemeClr val="accent6">
                    <a:lumMod val="50000"/>
                  </a:schemeClr>
                </a:solidFill>
              </a:rPr>
              <a:t>8.4</a:t>
            </a:r>
          </a:p>
          <a:p>
            <a:pPr algn="ctr"/>
            <a:r>
              <a:rPr lang="en-US" sz="2800" b="1" dirty="0">
                <a:solidFill>
                  <a:schemeClr val="accent6">
                    <a:lumMod val="50000"/>
                  </a:schemeClr>
                </a:solidFill>
              </a:rPr>
              <a:t>Million </a:t>
            </a:r>
          </a:p>
          <a:p>
            <a:pPr algn="ctr"/>
            <a:r>
              <a:rPr lang="en-US" sz="1600" dirty="0">
                <a:solidFill>
                  <a:schemeClr val="accent6">
                    <a:lumMod val="50000"/>
                  </a:schemeClr>
                </a:solidFill>
              </a:rPr>
              <a:t>Homes</a:t>
            </a:r>
          </a:p>
          <a:p>
            <a:pPr algn="ctr"/>
            <a:r>
              <a:rPr lang="en-US" sz="1600" dirty="0">
                <a:solidFill>
                  <a:schemeClr val="accent6">
                    <a:lumMod val="50000"/>
                  </a:schemeClr>
                </a:solidFill>
              </a:rPr>
              <a:t>Passed</a:t>
            </a:r>
          </a:p>
        </p:txBody>
      </p:sp>
      <p:graphicFrame>
        <p:nvGraphicFramePr>
          <p:cNvPr id="241" name="Chart 240">
            <a:extLst>
              <a:ext uri="{FF2B5EF4-FFF2-40B4-BE49-F238E27FC236}">
                <a16:creationId xmlns:a16="http://schemas.microsoft.com/office/drawing/2014/main" id="{78B9BD93-2553-4513-558D-0B2A1E2F2429}"/>
              </a:ext>
            </a:extLst>
          </p:cNvPr>
          <p:cNvGraphicFramePr/>
          <p:nvPr>
            <p:custDataLst>
              <p:tags r:id="rId3"/>
            </p:custDataLst>
            <p:extLst>
              <p:ext uri="{D42A27DB-BD31-4B8C-83A1-F6EECF244321}">
                <p14:modId xmlns:p14="http://schemas.microsoft.com/office/powerpoint/2010/main" val="3388135168"/>
              </p:ext>
            </p:extLst>
          </p:nvPr>
        </p:nvGraphicFramePr>
        <p:xfrm>
          <a:off x="8515350" y="2152650"/>
          <a:ext cx="3082925" cy="3022600"/>
        </p:xfrm>
        <a:graphic>
          <a:graphicData uri="http://schemas.openxmlformats.org/drawingml/2006/chart">
            <c:chart xmlns:c="http://schemas.openxmlformats.org/drawingml/2006/chart" xmlns:r="http://schemas.openxmlformats.org/officeDocument/2006/relationships" r:id="rId17"/>
          </a:graphicData>
        </a:graphic>
      </p:graphicFrame>
      <p:sp>
        <p:nvSpPr>
          <p:cNvPr id="43" name="Rectangle 42">
            <a:extLst>
              <a:ext uri="{FF2B5EF4-FFF2-40B4-BE49-F238E27FC236}">
                <a16:creationId xmlns:a16="http://schemas.microsoft.com/office/drawing/2014/main" id="{04792DAC-FF82-EF43-1332-CD984E53EAA6}"/>
              </a:ext>
            </a:extLst>
          </p:cNvPr>
          <p:cNvSpPr/>
          <p:nvPr>
            <p:custDataLst>
              <p:tags r:id="rId4"/>
            </p:custDataLst>
          </p:nvPr>
        </p:nvSpPr>
        <p:spPr bwMode="auto">
          <a:xfrm>
            <a:off x="9072563" y="5143500"/>
            <a:ext cx="5095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4FF9141F-EF5B-4B1D-A01F-5608864DFEE5}" type="datetime'''''''D''''ec''''''-1''''7'''''''''''''''''''''''''''''">
              <a:rPr lang="en-GB" altLang="en-US" sz="1200" b="1" smtClean="0">
                <a:solidFill>
                  <a:schemeClr val="tx2"/>
                </a:solidFill>
              </a:rPr>
              <a:pPr/>
              <a:t>Dec-17</a:t>
            </a:fld>
            <a:endParaRPr lang="en-US" sz="1200" b="1" dirty="0">
              <a:solidFill>
                <a:schemeClr val="tx2"/>
              </a:solidFill>
              <a:sym typeface="+mn-lt"/>
            </a:endParaRPr>
          </a:p>
        </p:txBody>
      </p:sp>
      <p:sp>
        <p:nvSpPr>
          <p:cNvPr id="40" name="Rectangle 39">
            <a:extLst>
              <a:ext uri="{FF2B5EF4-FFF2-40B4-BE49-F238E27FC236}">
                <a16:creationId xmlns:a16="http://schemas.microsoft.com/office/drawing/2014/main" id="{E4B40B8B-9C37-ABA7-C588-DE4CBA19C757}"/>
              </a:ext>
            </a:extLst>
          </p:cNvPr>
          <p:cNvSpPr/>
          <p:nvPr>
            <p:custDataLst>
              <p:tags r:id="rId5"/>
            </p:custDataLst>
          </p:nvPr>
        </p:nvSpPr>
        <p:spPr bwMode="auto">
          <a:xfrm>
            <a:off x="10531475" y="5143500"/>
            <a:ext cx="5095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F2F86119-C9FB-4BC8-878C-339788FEE0AC}" type="datetime'''''''''D''''''''''''''''''''''''e''''c''''''''-''''2''1'''">
              <a:rPr lang="en-GB" altLang="en-US" sz="1200" b="1" smtClean="0">
                <a:solidFill>
                  <a:schemeClr val="tx2"/>
                </a:solidFill>
              </a:rPr>
              <a:pPr/>
              <a:t>Dec-21</a:t>
            </a:fld>
            <a:endParaRPr lang="en-US" sz="1200" b="1" dirty="0">
              <a:solidFill>
                <a:schemeClr val="tx2"/>
              </a:solidFill>
              <a:sym typeface="+mn-lt"/>
            </a:endParaRPr>
          </a:p>
        </p:txBody>
      </p:sp>
      <p:sp>
        <p:nvSpPr>
          <p:cNvPr id="190" name="Rectangle 189">
            <a:extLst>
              <a:ext uri="{FF2B5EF4-FFF2-40B4-BE49-F238E27FC236}">
                <a16:creationId xmlns:a16="http://schemas.microsoft.com/office/drawing/2014/main" id="{26799D77-FF77-646A-3712-BC4AE6779CD9}"/>
              </a:ext>
            </a:extLst>
          </p:cNvPr>
          <p:cNvSpPr/>
          <p:nvPr>
            <p:custDataLst>
              <p:tags r:id="rId6"/>
            </p:custDataLst>
          </p:nvPr>
        </p:nvSpPr>
        <p:spPr bwMode="gray">
          <a:xfrm>
            <a:off x="9153525" y="3502025"/>
            <a:ext cx="347663"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ED6F3618-B6AC-4CEA-82AE-1742E6D5D46C}" type="datetime'4''''''''''''''8''''''''''''''''''''%'''''''''''">
              <a:rPr lang="en-GB" altLang="en-US" sz="1200" b="1" smtClean="0">
                <a:solidFill>
                  <a:schemeClr val="tx2"/>
                </a:solidFill>
              </a:rPr>
              <a:pPr/>
              <a:t>48%</a:t>
            </a:fld>
            <a:endParaRPr lang="en-PA" sz="1200" b="1" dirty="0">
              <a:solidFill>
                <a:schemeClr val="tx2"/>
              </a:solidFill>
              <a:sym typeface="+mn-lt"/>
            </a:endParaRPr>
          </a:p>
        </p:txBody>
      </p:sp>
      <p:sp>
        <p:nvSpPr>
          <p:cNvPr id="197" name="Rectangle 196">
            <a:extLst>
              <a:ext uri="{FF2B5EF4-FFF2-40B4-BE49-F238E27FC236}">
                <a16:creationId xmlns:a16="http://schemas.microsoft.com/office/drawing/2014/main" id="{9FA0CCCF-A80E-480D-A1FF-84CCD12A7B01}"/>
              </a:ext>
            </a:extLst>
          </p:cNvPr>
          <p:cNvSpPr/>
          <p:nvPr>
            <p:custDataLst>
              <p:tags r:id="rId7"/>
            </p:custDataLst>
          </p:nvPr>
        </p:nvSpPr>
        <p:spPr bwMode="gray">
          <a:xfrm>
            <a:off x="10612438" y="2044700"/>
            <a:ext cx="347663"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EDD40FDF-5C45-41FE-B08F-CF7D7460A105}" type="datetime'''9''''''''''''''''''''8%'''''''''''''''''''''''''''''''''''''">
              <a:rPr lang="en-GB" altLang="en-US" sz="1200" b="1" smtClean="0">
                <a:solidFill>
                  <a:schemeClr val="tx2"/>
                </a:solidFill>
              </a:rPr>
              <a:pPr/>
              <a:t>98%</a:t>
            </a:fld>
            <a:endParaRPr lang="en-PA" sz="1200" b="1" dirty="0">
              <a:solidFill>
                <a:schemeClr val="tx2"/>
              </a:solidFill>
              <a:sym typeface="+mn-lt"/>
            </a:endParaRPr>
          </a:p>
        </p:txBody>
      </p:sp>
      <p:sp>
        <p:nvSpPr>
          <p:cNvPr id="44" name="TextBox 43">
            <a:extLst>
              <a:ext uri="{FF2B5EF4-FFF2-40B4-BE49-F238E27FC236}">
                <a16:creationId xmlns:a16="http://schemas.microsoft.com/office/drawing/2014/main" id="{00CB808C-A632-349B-58DC-A1177DD5C6BC}"/>
              </a:ext>
            </a:extLst>
          </p:cNvPr>
          <p:cNvSpPr txBox="1"/>
          <p:nvPr/>
        </p:nvSpPr>
        <p:spPr>
          <a:xfrm>
            <a:off x="8745538" y="1084306"/>
            <a:ext cx="2456570" cy="246221"/>
          </a:xfrm>
          <a:prstGeom prst="rect">
            <a:avLst/>
          </a:prstGeom>
        </p:spPr>
        <p:txBody>
          <a:bodyPr vert="horz" wrap="none" lIns="0" tIns="0" rIns="0" bIns="0" rtlCol="0" anchor="t" anchorCtr="0">
            <a:spAutoFit/>
          </a:bodyPr>
          <a:lstStyle/>
          <a:p>
            <a:r>
              <a:rPr lang="en-US" sz="1600" b="1" dirty="0">
                <a:solidFill>
                  <a:schemeClr val="bg2"/>
                </a:solidFill>
              </a:rPr>
              <a:t>MOBILE LTE COVERAGE</a:t>
            </a:r>
          </a:p>
        </p:txBody>
      </p:sp>
      <p:sp>
        <p:nvSpPr>
          <p:cNvPr id="45" name="TextBox 44">
            <a:extLst>
              <a:ext uri="{FF2B5EF4-FFF2-40B4-BE49-F238E27FC236}">
                <a16:creationId xmlns:a16="http://schemas.microsoft.com/office/drawing/2014/main" id="{CEF9CCB0-B40D-FE03-5892-0B445F864B4D}"/>
              </a:ext>
            </a:extLst>
          </p:cNvPr>
          <p:cNvSpPr txBox="1"/>
          <p:nvPr/>
        </p:nvSpPr>
        <p:spPr>
          <a:xfrm>
            <a:off x="9158746" y="1362691"/>
            <a:ext cx="1407437" cy="153888"/>
          </a:xfrm>
          <a:prstGeom prst="rect">
            <a:avLst/>
          </a:prstGeom>
        </p:spPr>
        <p:txBody>
          <a:bodyPr vert="horz" wrap="none" lIns="0" tIns="0" rIns="0" bIns="0" rtlCol="0" anchor="t" anchorCtr="0">
            <a:spAutoFit/>
          </a:bodyPr>
          <a:lstStyle/>
          <a:p>
            <a:r>
              <a:rPr lang="en-US" sz="1000" dirty="0">
                <a:solidFill>
                  <a:schemeClr val="accent6">
                    <a:lumMod val="50000"/>
                  </a:schemeClr>
                </a:solidFill>
              </a:rPr>
              <a:t>% OF SITES WITH LTE</a:t>
            </a:r>
          </a:p>
        </p:txBody>
      </p:sp>
      <p:sp>
        <p:nvSpPr>
          <p:cNvPr id="69" name="Hexagon 68">
            <a:extLst>
              <a:ext uri="{FF2B5EF4-FFF2-40B4-BE49-F238E27FC236}">
                <a16:creationId xmlns:a16="http://schemas.microsoft.com/office/drawing/2014/main" id="{059E1EB9-966D-C2D6-4746-ADC988853DBA}"/>
              </a:ext>
            </a:extLst>
          </p:cNvPr>
          <p:cNvSpPr/>
          <p:nvPr/>
        </p:nvSpPr>
        <p:spPr>
          <a:xfrm>
            <a:off x="2911475" y="5008563"/>
            <a:ext cx="820738" cy="649288"/>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68" name="Rectangle 67">
            <a:extLst>
              <a:ext uri="{FF2B5EF4-FFF2-40B4-BE49-F238E27FC236}">
                <a16:creationId xmlns:a16="http://schemas.microsoft.com/office/drawing/2014/main" id="{D163E61B-42E7-8575-2107-366DD8FFE928}"/>
              </a:ext>
            </a:extLst>
          </p:cNvPr>
          <p:cNvSpPr/>
          <p:nvPr/>
        </p:nvSpPr>
        <p:spPr>
          <a:xfrm>
            <a:off x="2835275" y="5083175"/>
            <a:ext cx="1025525" cy="460375"/>
          </a:xfrm>
          <a:prstGeom prst="rect">
            <a:avLst/>
          </a:prstGeom>
          <a:ln>
            <a:noFill/>
          </a:ln>
        </p:spPr>
        <p:txBody>
          <a:bodyPr wrap="square">
            <a:spAutoFit/>
          </a:bodyPr>
          <a:lstStyle/>
          <a:p>
            <a:pPr algn="ctr"/>
            <a:r>
              <a:rPr lang="en-US" sz="1200" b="1" dirty="0">
                <a:solidFill>
                  <a:schemeClr val="bg1"/>
                </a:solidFill>
              </a:rPr>
              <a:t>72% </a:t>
            </a:r>
          </a:p>
          <a:p>
            <a:pPr algn="ctr"/>
            <a:r>
              <a:rPr lang="en-US" sz="1200" b="1" dirty="0">
                <a:solidFill>
                  <a:schemeClr val="bg1"/>
                </a:solidFill>
              </a:rPr>
              <a:t>2W HFC</a:t>
            </a:r>
          </a:p>
        </p:txBody>
      </p:sp>
      <p:sp>
        <p:nvSpPr>
          <p:cNvPr id="74" name="Hexagon 73">
            <a:extLst>
              <a:ext uri="{FF2B5EF4-FFF2-40B4-BE49-F238E27FC236}">
                <a16:creationId xmlns:a16="http://schemas.microsoft.com/office/drawing/2014/main" id="{A7E2990F-5C8A-D51A-FB2A-4E06F21A3901}"/>
              </a:ext>
            </a:extLst>
          </p:cNvPr>
          <p:cNvSpPr/>
          <p:nvPr/>
        </p:nvSpPr>
        <p:spPr>
          <a:xfrm>
            <a:off x="327025" y="4694238"/>
            <a:ext cx="819150" cy="649288"/>
          </a:xfrm>
          <a:prstGeom prst="hexagon">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75" name="Rectangle 74">
            <a:extLst>
              <a:ext uri="{FF2B5EF4-FFF2-40B4-BE49-F238E27FC236}">
                <a16:creationId xmlns:a16="http://schemas.microsoft.com/office/drawing/2014/main" id="{5EA66F5B-B9A3-5908-8D72-BA62F5B75D0E}"/>
              </a:ext>
            </a:extLst>
          </p:cNvPr>
          <p:cNvSpPr/>
          <p:nvPr/>
        </p:nvSpPr>
        <p:spPr>
          <a:xfrm>
            <a:off x="238125" y="4672013"/>
            <a:ext cx="1025525" cy="646113"/>
          </a:xfrm>
          <a:prstGeom prst="rect">
            <a:avLst/>
          </a:prstGeom>
          <a:ln>
            <a:noFill/>
          </a:ln>
        </p:spPr>
        <p:txBody>
          <a:bodyPr wrap="square">
            <a:spAutoFit/>
          </a:bodyPr>
          <a:lstStyle/>
          <a:p>
            <a:pPr algn="ctr">
              <a:spcBef>
                <a:spcPts val="600"/>
              </a:spcBef>
            </a:pPr>
            <a:r>
              <a:rPr lang="en-US" sz="1200" b="1" dirty="0">
                <a:solidFill>
                  <a:schemeClr val="bg1"/>
                </a:solidFill>
              </a:rPr>
              <a:t>10% </a:t>
            </a:r>
          </a:p>
          <a:p>
            <a:pPr algn="ctr"/>
            <a:r>
              <a:rPr lang="en-US" sz="1200" b="1" dirty="0">
                <a:solidFill>
                  <a:schemeClr val="bg1"/>
                </a:solidFill>
              </a:rPr>
              <a:t>Copper  1W HFC</a:t>
            </a:r>
          </a:p>
        </p:txBody>
      </p:sp>
      <p:sp>
        <p:nvSpPr>
          <p:cNvPr id="76" name="Hexagon 75">
            <a:extLst>
              <a:ext uri="{FF2B5EF4-FFF2-40B4-BE49-F238E27FC236}">
                <a16:creationId xmlns:a16="http://schemas.microsoft.com/office/drawing/2014/main" id="{794734F5-9F0A-E1E5-B12F-6F46E5F8BE83}"/>
              </a:ext>
            </a:extLst>
          </p:cNvPr>
          <p:cNvSpPr/>
          <p:nvPr/>
        </p:nvSpPr>
        <p:spPr>
          <a:xfrm>
            <a:off x="309563" y="1990725"/>
            <a:ext cx="819150" cy="649288"/>
          </a:xfrm>
          <a:prstGeom prst="hexagon">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77" name="Rectangle 76">
            <a:extLst>
              <a:ext uri="{FF2B5EF4-FFF2-40B4-BE49-F238E27FC236}">
                <a16:creationId xmlns:a16="http://schemas.microsoft.com/office/drawing/2014/main" id="{6A39332D-94D8-13DA-0C89-04A05DD69D37}"/>
              </a:ext>
            </a:extLst>
          </p:cNvPr>
          <p:cNvSpPr/>
          <p:nvPr/>
        </p:nvSpPr>
        <p:spPr>
          <a:xfrm>
            <a:off x="233363" y="2065338"/>
            <a:ext cx="1025525" cy="461963"/>
          </a:xfrm>
          <a:prstGeom prst="rect">
            <a:avLst/>
          </a:prstGeom>
          <a:ln>
            <a:noFill/>
          </a:ln>
        </p:spPr>
        <p:txBody>
          <a:bodyPr wrap="square">
            <a:spAutoFit/>
          </a:bodyPr>
          <a:lstStyle/>
          <a:p>
            <a:pPr algn="ctr"/>
            <a:r>
              <a:rPr lang="en-US" sz="1200" b="1" dirty="0">
                <a:solidFill>
                  <a:schemeClr val="bg1"/>
                </a:solidFill>
              </a:rPr>
              <a:t>18% </a:t>
            </a:r>
          </a:p>
          <a:p>
            <a:pPr algn="ctr"/>
            <a:r>
              <a:rPr lang="en-US" sz="1200" b="1" dirty="0">
                <a:solidFill>
                  <a:schemeClr val="bg1"/>
                </a:solidFill>
              </a:rPr>
              <a:t>FTTH</a:t>
            </a:r>
          </a:p>
        </p:txBody>
      </p:sp>
      <p:pic>
        <p:nvPicPr>
          <p:cNvPr id="203" name="Picture 202">
            <a:extLst>
              <a:ext uri="{FF2B5EF4-FFF2-40B4-BE49-F238E27FC236}">
                <a16:creationId xmlns:a16="http://schemas.microsoft.com/office/drawing/2014/main" id="{F72A55BD-B0E1-05A4-5333-149B7F7C6ADC}"/>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021790" y="5549007"/>
            <a:ext cx="1187179" cy="469555"/>
          </a:xfrm>
          <a:prstGeom prst="rect">
            <a:avLst/>
          </a:prstGeom>
        </p:spPr>
      </p:pic>
      <p:sp>
        <p:nvSpPr>
          <p:cNvPr id="204" name="Title 1">
            <a:extLst>
              <a:ext uri="{FF2B5EF4-FFF2-40B4-BE49-F238E27FC236}">
                <a16:creationId xmlns:a16="http://schemas.microsoft.com/office/drawing/2014/main" id="{BD26BB14-1F08-79C9-FD33-B36C4C74676E}"/>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nvesting in High-Speed Connectivity</a:t>
            </a:r>
          </a:p>
          <a:p>
            <a:endParaRPr lang="en-US" sz="2800" dirty="0"/>
          </a:p>
        </p:txBody>
      </p:sp>
      <p:sp>
        <p:nvSpPr>
          <p:cNvPr id="219" name="Rectangle 218">
            <a:extLst>
              <a:ext uri="{FF2B5EF4-FFF2-40B4-BE49-F238E27FC236}">
                <a16:creationId xmlns:a16="http://schemas.microsoft.com/office/drawing/2014/main" id="{972648B9-5D40-D6DF-7F88-B006A7FD42E8}"/>
              </a:ext>
            </a:extLst>
          </p:cNvPr>
          <p:cNvSpPr/>
          <p:nvPr/>
        </p:nvSpPr>
        <p:spPr>
          <a:xfrm>
            <a:off x="4011612" y="1023938"/>
            <a:ext cx="4068763" cy="537051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TextBox 219">
            <a:extLst>
              <a:ext uri="{FF2B5EF4-FFF2-40B4-BE49-F238E27FC236}">
                <a16:creationId xmlns:a16="http://schemas.microsoft.com/office/drawing/2014/main" id="{9B4E547E-30A4-B8C1-40D7-9DAFC9493610}"/>
              </a:ext>
            </a:extLst>
          </p:cNvPr>
          <p:cNvSpPr txBox="1"/>
          <p:nvPr/>
        </p:nvSpPr>
        <p:spPr>
          <a:xfrm>
            <a:off x="4327524" y="1086777"/>
            <a:ext cx="3386312" cy="246221"/>
          </a:xfrm>
          <a:prstGeom prst="rect">
            <a:avLst/>
          </a:prstGeom>
        </p:spPr>
        <p:txBody>
          <a:bodyPr vert="horz" wrap="none" lIns="0" tIns="0" rIns="0" bIns="0" rtlCol="0" anchor="t" anchorCtr="0">
            <a:spAutoFit/>
          </a:bodyPr>
          <a:lstStyle/>
          <a:p>
            <a:r>
              <a:rPr lang="en-US" sz="1600" b="1" dirty="0">
                <a:solidFill>
                  <a:schemeClr val="bg2"/>
                </a:solidFill>
              </a:rPr>
              <a:t>NETWORK EXPANSION/UPGRADE</a:t>
            </a:r>
          </a:p>
        </p:txBody>
      </p:sp>
      <p:sp>
        <p:nvSpPr>
          <p:cNvPr id="221" name="TextBox 220">
            <a:extLst>
              <a:ext uri="{FF2B5EF4-FFF2-40B4-BE49-F238E27FC236}">
                <a16:creationId xmlns:a16="http://schemas.microsoft.com/office/drawing/2014/main" id="{4F41B895-BB55-7079-B60F-558978624422}"/>
              </a:ext>
            </a:extLst>
          </p:cNvPr>
          <p:cNvSpPr txBox="1"/>
          <p:nvPr/>
        </p:nvSpPr>
        <p:spPr>
          <a:xfrm>
            <a:off x="4850693" y="1371104"/>
            <a:ext cx="2339975" cy="153988"/>
          </a:xfrm>
          <a:prstGeom prst="rect">
            <a:avLst/>
          </a:prstGeom>
        </p:spPr>
        <p:txBody>
          <a:bodyPr vert="horz" wrap="none" lIns="0" tIns="0" rIns="0" bIns="0" rtlCol="0" anchor="t" anchorCtr="0">
            <a:spAutoFit/>
          </a:bodyPr>
          <a:lstStyle/>
          <a:p>
            <a:r>
              <a:rPr lang="en-US" sz="1000" dirty="0">
                <a:solidFill>
                  <a:schemeClr val="accent6">
                    <a:lumMod val="50000"/>
                  </a:schemeClr>
                </a:solidFill>
              </a:rPr>
              <a:t>HOMES PASSED AND UPGRADED (K))</a:t>
            </a:r>
          </a:p>
        </p:txBody>
      </p:sp>
      <p:graphicFrame>
        <p:nvGraphicFramePr>
          <p:cNvPr id="245" name="Chart 244">
            <a:extLst>
              <a:ext uri="{FF2B5EF4-FFF2-40B4-BE49-F238E27FC236}">
                <a16:creationId xmlns:a16="http://schemas.microsoft.com/office/drawing/2014/main" id="{760FE8F4-D60E-29DF-8AEB-E668C2E94230}"/>
              </a:ext>
            </a:extLst>
          </p:cNvPr>
          <p:cNvGraphicFramePr/>
          <p:nvPr>
            <p:custDataLst>
              <p:tags r:id="rId8"/>
            </p:custDataLst>
            <p:extLst>
              <p:ext uri="{D42A27DB-BD31-4B8C-83A1-F6EECF244321}">
                <p14:modId xmlns:p14="http://schemas.microsoft.com/office/powerpoint/2010/main" val="1177787048"/>
              </p:ext>
            </p:extLst>
          </p:nvPr>
        </p:nvGraphicFramePr>
        <p:xfrm>
          <a:off x="4592638" y="2116138"/>
          <a:ext cx="2743200" cy="3681412"/>
        </p:xfrm>
        <a:graphic>
          <a:graphicData uri="http://schemas.openxmlformats.org/drawingml/2006/chart">
            <c:chart xmlns:c="http://schemas.openxmlformats.org/drawingml/2006/chart" xmlns:r="http://schemas.openxmlformats.org/officeDocument/2006/relationships" r:id="rId19"/>
          </a:graphicData>
        </a:graphic>
      </p:graphicFrame>
      <p:sp>
        <p:nvSpPr>
          <p:cNvPr id="223" name="Rectangle 222">
            <a:extLst>
              <a:ext uri="{FF2B5EF4-FFF2-40B4-BE49-F238E27FC236}">
                <a16:creationId xmlns:a16="http://schemas.microsoft.com/office/drawing/2014/main" id="{018DEED6-6E41-F9CE-D0C3-212212077D74}"/>
              </a:ext>
            </a:extLst>
          </p:cNvPr>
          <p:cNvSpPr/>
          <p:nvPr>
            <p:custDataLst>
              <p:tags r:id="rId9"/>
            </p:custDataLst>
          </p:nvPr>
        </p:nvSpPr>
        <p:spPr bwMode="auto">
          <a:xfrm>
            <a:off x="4237038" y="5184775"/>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E7F8D255-565E-4EA5-B74D-CB606AA00237}" type="datetime'''''2''''''''0''2''''1'">
              <a:rPr lang="en-GB" altLang="en-US" sz="1200" smtClean="0">
                <a:solidFill>
                  <a:schemeClr val="tx1"/>
                </a:solidFill>
              </a:rPr>
              <a:pPr/>
              <a:t>2021</a:t>
            </a:fld>
            <a:endParaRPr lang="en-PA" sz="1200">
              <a:solidFill>
                <a:schemeClr val="tx1"/>
              </a:solidFill>
            </a:endParaRPr>
          </a:p>
        </p:txBody>
      </p:sp>
      <p:sp>
        <p:nvSpPr>
          <p:cNvPr id="224" name="Rectangle 223">
            <a:extLst>
              <a:ext uri="{FF2B5EF4-FFF2-40B4-BE49-F238E27FC236}">
                <a16:creationId xmlns:a16="http://schemas.microsoft.com/office/drawing/2014/main" id="{571D3AF8-6578-5430-03B4-88BEECA1D0FD}"/>
              </a:ext>
            </a:extLst>
          </p:cNvPr>
          <p:cNvSpPr/>
          <p:nvPr>
            <p:custDataLst>
              <p:tags r:id="rId10"/>
            </p:custDataLst>
          </p:nvPr>
        </p:nvSpPr>
        <p:spPr bwMode="auto">
          <a:xfrm>
            <a:off x="4237038" y="4305300"/>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B27EA3F7-B241-40C8-8122-C78631DC04D3}" type="datetime'''''''2''''0''''2''''''0'''''''''''''''''''">
              <a:rPr lang="en-GB" altLang="en-US" sz="1200" smtClean="0">
                <a:solidFill>
                  <a:schemeClr val="tx1"/>
                </a:solidFill>
              </a:rPr>
              <a:pPr/>
              <a:t>2020</a:t>
            </a:fld>
            <a:endParaRPr lang="en-PA" sz="1200">
              <a:solidFill>
                <a:schemeClr val="tx1"/>
              </a:solidFill>
            </a:endParaRPr>
          </a:p>
        </p:txBody>
      </p:sp>
      <p:sp>
        <p:nvSpPr>
          <p:cNvPr id="225" name="Rectangle 224">
            <a:extLst>
              <a:ext uri="{FF2B5EF4-FFF2-40B4-BE49-F238E27FC236}">
                <a16:creationId xmlns:a16="http://schemas.microsoft.com/office/drawing/2014/main" id="{EB9E5328-B80D-6B9D-7284-19849564FC21}"/>
              </a:ext>
            </a:extLst>
          </p:cNvPr>
          <p:cNvSpPr/>
          <p:nvPr>
            <p:custDataLst>
              <p:tags r:id="rId11"/>
            </p:custDataLst>
          </p:nvPr>
        </p:nvSpPr>
        <p:spPr bwMode="auto">
          <a:xfrm>
            <a:off x="4237038" y="3427413"/>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5111CB92-3ADC-47A2-8129-027066178DC2}" type="datetime'''20''''''''''1''''''''''''''9'''''''''''''">
              <a:rPr lang="en-GB" altLang="en-US" sz="1200" smtClean="0">
                <a:solidFill>
                  <a:schemeClr val="tx1"/>
                </a:solidFill>
              </a:rPr>
              <a:pPr/>
              <a:t>2019</a:t>
            </a:fld>
            <a:endParaRPr lang="en-PA" sz="1200">
              <a:solidFill>
                <a:schemeClr val="tx1"/>
              </a:solidFill>
            </a:endParaRPr>
          </a:p>
        </p:txBody>
      </p:sp>
      <p:sp>
        <p:nvSpPr>
          <p:cNvPr id="226" name="Rectangle 225">
            <a:extLst>
              <a:ext uri="{FF2B5EF4-FFF2-40B4-BE49-F238E27FC236}">
                <a16:creationId xmlns:a16="http://schemas.microsoft.com/office/drawing/2014/main" id="{ED18B707-F440-2253-BEA7-1FD992394809}"/>
              </a:ext>
            </a:extLst>
          </p:cNvPr>
          <p:cNvSpPr/>
          <p:nvPr>
            <p:custDataLst>
              <p:tags r:id="rId12"/>
            </p:custDataLst>
          </p:nvPr>
        </p:nvSpPr>
        <p:spPr bwMode="auto">
          <a:xfrm>
            <a:off x="4237038" y="2547938"/>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00B81930-8078-442F-BBB9-15FE00DBEF5A}" type="datetime'''''''201''''''''''''''''''''''''''''''8'''''''''''''''''">
              <a:rPr lang="en-GB" altLang="en-US" sz="1200" smtClean="0">
                <a:solidFill>
                  <a:schemeClr val="tx1"/>
                </a:solidFill>
              </a:rPr>
              <a:pPr/>
              <a:t>2018</a:t>
            </a:fld>
            <a:endParaRPr lang="en-PA" sz="1200">
              <a:solidFill>
                <a:schemeClr val="tx1"/>
              </a:solidFill>
            </a:endParaRPr>
          </a:p>
        </p:txBody>
      </p:sp>
      <p:sp>
        <p:nvSpPr>
          <p:cNvPr id="227" name="Hexagon 226">
            <a:extLst>
              <a:ext uri="{FF2B5EF4-FFF2-40B4-BE49-F238E27FC236}">
                <a16:creationId xmlns:a16="http://schemas.microsoft.com/office/drawing/2014/main" id="{68E4BB26-7D39-A263-3321-C099A13F2CCA}"/>
              </a:ext>
            </a:extLst>
          </p:cNvPr>
          <p:cNvSpPr/>
          <p:nvPr/>
        </p:nvSpPr>
        <p:spPr>
          <a:xfrm>
            <a:off x="7473950" y="2427288"/>
            <a:ext cx="506413"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28" name="Rectangle 227">
            <a:extLst>
              <a:ext uri="{FF2B5EF4-FFF2-40B4-BE49-F238E27FC236}">
                <a16:creationId xmlns:a16="http://schemas.microsoft.com/office/drawing/2014/main" id="{2337157E-69D5-0088-28BB-D0E52CB371D4}"/>
              </a:ext>
            </a:extLst>
          </p:cNvPr>
          <p:cNvSpPr/>
          <p:nvPr/>
        </p:nvSpPr>
        <p:spPr>
          <a:xfrm>
            <a:off x="7421563" y="2497138"/>
            <a:ext cx="635000" cy="277813"/>
          </a:xfrm>
          <a:prstGeom prst="rect">
            <a:avLst/>
          </a:prstGeom>
          <a:ln>
            <a:noFill/>
          </a:ln>
        </p:spPr>
        <p:txBody>
          <a:bodyPr wrap="square">
            <a:spAutoFit/>
          </a:bodyPr>
          <a:lstStyle/>
          <a:p>
            <a:pPr algn="ctr"/>
            <a:r>
              <a:rPr lang="en-US" sz="1200" b="1" dirty="0">
                <a:solidFill>
                  <a:schemeClr val="bg1"/>
                </a:solidFill>
              </a:rPr>
              <a:t>6%</a:t>
            </a:r>
          </a:p>
        </p:txBody>
      </p:sp>
      <p:sp>
        <p:nvSpPr>
          <p:cNvPr id="229" name="Hexagon 228">
            <a:extLst>
              <a:ext uri="{FF2B5EF4-FFF2-40B4-BE49-F238E27FC236}">
                <a16:creationId xmlns:a16="http://schemas.microsoft.com/office/drawing/2014/main" id="{86A1A874-3B01-D46E-A793-40BA600E13F3}"/>
              </a:ext>
            </a:extLst>
          </p:cNvPr>
          <p:cNvSpPr/>
          <p:nvPr/>
        </p:nvSpPr>
        <p:spPr>
          <a:xfrm>
            <a:off x="7473950" y="3260725"/>
            <a:ext cx="506413"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30" name="Rectangle 229">
            <a:extLst>
              <a:ext uri="{FF2B5EF4-FFF2-40B4-BE49-F238E27FC236}">
                <a16:creationId xmlns:a16="http://schemas.microsoft.com/office/drawing/2014/main" id="{44C24551-0E7A-B99F-5BCB-76BC4A09C4E8}"/>
              </a:ext>
            </a:extLst>
          </p:cNvPr>
          <p:cNvSpPr/>
          <p:nvPr/>
        </p:nvSpPr>
        <p:spPr>
          <a:xfrm>
            <a:off x="7421563" y="3330575"/>
            <a:ext cx="635000" cy="277813"/>
          </a:xfrm>
          <a:prstGeom prst="rect">
            <a:avLst/>
          </a:prstGeom>
          <a:ln>
            <a:noFill/>
          </a:ln>
        </p:spPr>
        <p:txBody>
          <a:bodyPr wrap="square">
            <a:spAutoFit/>
          </a:bodyPr>
          <a:lstStyle/>
          <a:p>
            <a:pPr algn="ctr"/>
            <a:r>
              <a:rPr lang="en-US" sz="1200" b="1" dirty="0">
                <a:solidFill>
                  <a:schemeClr val="bg1"/>
                </a:solidFill>
              </a:rPr>
              <a:t>21%</a:t>
            </a:r>
          </a:p>
        </p:txBody>
      </p:sp>
      <p:sp>
        <p:nvSpPr>
          <p:cNvPr id="231" name="Hexagon 230">
            <a:extLst>
              <a:ext uri="{FF2B5EF4-FFF2-40B4-BE49-F238E27FC236}">
                <a16:creationId xmlns:a16="http://schemas.microsoft.com/office/drawing/2014/main" id="{4EBE5ADE-FAE4-6261-7EC7-A05574302F82}"/>
              </a:ext>
            </a:extLst>
          </p:cNvPr>
          <p:cNvSpPr/>
          <p:nvPr/>
        </p:nvSpPr>
        <p:spPr>
          <a:xfrm>
            <a:off x="7481888" y="4102100"/>
            <a:ext cx="506413"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32" name="Rectangle 231">
            <a:extLst>
              <a:ext uri="{FF2B5EF4-FFF2-40B4-BE49-F238E27FC236}">
                <a16:creationId xmlns:a16="http://schemas.microsoft.com/office/drawing/2014/main" id="{FBDBD278-DD67-CB15-0561-93428650956A}"/>
              </a:ext>
            </a:extLst>
          </p:cNvPr>
          <p:cNvSpPr/>
          <p:nvPr/>
        </p:nvSpPr>
        <p:spPr>
          <a:xfrm>
            <a:off x="7429500" y="4171950"/>
            <a:ext cx="633413" cy="277813"/>
          </a:xfrm>
          <a:prstGeom prst="rect">
            <a:avLst/>
          </a:prstGeom>
          <a:ln>
            <a:noFill/>
          </a:ln>
        </p:spPr>
        <p:txBody>
          <a:bodyPr wrap="square">
            <a:spAutoFit/>
          </a:bodyPr>
          <a:lstStyle/>
          <a:p>
            <a:pPr algn="ctr"/>
            <a:r>
              <a:rPr lang="en-US" sz="1200" b="1" dirty="0">
                <a:solidFill>
                  <a:schemeClr val="bg1"/>
                </a:solidFill>
              </a:rPr>
              <a:t>83%</a:t>
            </a:r>
          </a:p>
        </p:txBody>
      </p:sp>
      <p:sp>
        <p:nvSpPr>
          <p:cNvPr id="233" name="Hexagon 232">
            <a:extLst>
              <a:ext uri="{FF2B5EF4-FFF2-40B4-BE49-F238E27FC236}">
                <a16:creationId xmlns:a16="http://schemas.microsoft.com/office/drawing/2014/main" id="{FD72FCB2-92E8-6F47-AB44-083ED03B6508}"/>
              </a:ext>
            </a:extLst>
          </p:cNvPr>
          <p:cNvSpPr/>
          <p:nvPr/>
        </p:nvSpPr>
        <p:spPr>
          <a:xfrm>
            <a:off x="7473950" y="4999038"/>
            <a:ext cx="508000"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34" name="Rectangle 233">
            <a:extLst>
              <a:ext uri="{FF2B5EF4-FFF2-40B4-BE49-F238E27FC236}">
                <a16:creationId xmlns:a16="http://schemas.microsoft.com/office/drawing/2014/main" id="{0F0ADEA4-B0C0-B8F7-01D5-4447A995F5BD}"/>
              </a:ext>
            </a:extLst>
          </p:cNvPr>
          <p:cNvSpPr/>
          <p:nvPr/>
        </p:nvSpPr>
        <p:spPr>
          <a:xfrm>
            <a:off x="7423150" y="5068888"/>
            <a:ext cx="633413" cy="277813"/>
          </a:xfrm>
          <a:prstGeom prst="rect">
            <a:avLst/>
          </a:prstGeom>
          <a:ln>
            <a:noFill/>
          </a:ln>
        </p:spPr>
        <p:txBody>
          <a:bodyPr wrap="square">
            <a:spAutoFit/>
          </a:bodyPr>
          <a:lstStyle/>
          <a:p>
            <a:pPr algn="ctr"/>
            <a:r>
              <a:rPr lang="en-US" sz="1200" b="1" dirty="0">
                <a:solidFill>
                  <a:schemeClr val="bg1"/>
                </a:solidFill>
              </a:rPr>
              <a:t>99%</a:t>
            </a:r>
          </a:p>
        </p:txBody>
      </p:sp>
      <p:sp>
        <p:nvSpPr>
          <p:cNvPr id="235" name="TextBox 234">
            <a:extLst>
              <a:ext uri="{FF2B5EF4-FFF2-40B4-BE49-F238E27FC236}">
                <a16:creationId xmlns:a16="http://schemas.microsoft.com/office/drawing/2014/main" id="{0C3D08BD-8790-E8F8-C031-E810E8AD4EA9}"/>
              </a:ext>
            </a:extLst>
          </p:cNvPr>
          <p:cNvSpPr txBox="1"/>
          <p:nvPr/>
        </p:nvSpPr>
        <p:spPr>
          <a:xfrm>
            <a:off x="7351713" y="1952625"/>
            <a:ext cx="728663" cy="246063"/>
          </a:xfrm>
          <a:prstGeom prst="rect">
            <a:avLst/>
          </a:prstGeom>
          <a:noFill/>
        </p:spPr>
        <p:txBody>
          <a:bodyPr wrap="square">
            <a:spAutoFit/>
          </a:bodyPr>
          <a:lstStyle/>
          <a:p>
            <a:r>
              <a:rPr lang="en-US" sz="1000" dirty="0">
                <a:solidFill>
                  <a:schemeClr val="accent6">
                    <a:lumMod val="50000"/>
                  </a:schemeClr>
                </a:solidFill>
              </a:rPr>
              <a:t>% FTTH</a:t>
            </a:r>
            <a:endParaRPr lang="en-PA" sz="1000" dirty="0"/>
          </a:p>
        </p:txBody>
      </p:sp>
      <p:sp>
        <p:nvSpPr>
          <p:cNvPr id="6" name="Footer Placeholder 5">
            <a:extLst>
              <a:ext uri="{FF2B5EF4-FFF2-40B4-BE49-F238E27FC236}">
                <a16:creationId xmlns:a16="http://schemas.microsoft.com/office/drawing/2014/main" id="{D135B70B-8428-09B7-9082-509A0E2AF06D}"/>
              </a:ext>
            </a:extLst>
          </p:cNvPr>
          <p:cNvSpPr>
            <a:spLocks noGrp="1"/>
          </p:cNvSpPr>
          <p:nvPr>
            <p:ph type="ftr" sz="quarter" idx="3"/>
          </p:nvPr>
        </p:nvSpPr>
        <p:spPr/>
        <p:txBody>
          <a:bodyPr/>
          <a:lstStyle/>
          <a:p>
            <a:r>
              <a:rPr lang="en-US" dirty="0"/>
              <a:t>LIBERTY LATIN AMERICA | CANTO 2022 | JULY 18</a:t>
            </a:r>
          </a:p>
        </p:txBody>
      </p:sp>
      <p:sp>
        <p:nvSpPr>
          <p:cNvPr id="7" name="Slide Number Placeholder 6">
            <a:extLst>
              <a:ext uri="{FF2B5EF4-FFF2-40B4-BE49-F238E27FC236}">
                <a16:creationId xmlns:a16="http://schemas.microsoft.com/office/drawing/2014/main" id="{A50731D1-AE36-B64A-17AA-75B133ABE89A}"/>
              </a:ext>
            </a:extLst>
          </p:cNvPr>
          <p:cNvSpPr>
            <a:spLocks noGrp="1"/>
          </p:cNvSpPr>
          <p:nvPr>
            <p:ph type="sldNum" sz="quarter" idx="4"/>
          </p:nvPr>
        </p:nvSpPr>
        <p:spPr/>
        <p:txBody>
          <a:bodyPr/>
          <a:lstStyle/>
          <a:p>
            <a:fld id="{496097A3-845D-4C79-9B10-713A18711759}" type="slidenum">
              <a:rPr lang="en-US" smtClean="0"/>
              <a:pPr/>
              <a:t>5</a:t>
            </a:fld>
            <a:endParaRPr lang="en-US"/>
          </a:p>
        </p:txBody>
      </p:sp>
      <p:sp>
        <p:nvSpPr>
          <p:cNvPr id="49" name="TextBox 48">
            <a:extLst>
              <a:ext uri="{FF2B5EF4-FFF2-40B4-BE49-F238E27FC236}">
                <a16:creationId xmlns:a16="http://schemas.microsoft.com/office/drawing/2014/main" id="{49C9668E-02A8-4D54-AD6E-39E2D89DF44E}"/>
              </a:ext>
            </a:extLst>
          </p:cNvPr>
          <p:cNvSpPr txBox="1"/>
          <p:nvPr/>
        </p:nvSpPr>
        <p:spPr>
          <a:xfrm>
            <a:off x="148282" y="5960727"/>
            <a:ext cx="3583932" cy="430887"/>
          </a:xfrm>
          <a:prstGeom prst="rect">
            <a:avLst/>
          </a:prstGeom>
          <a:noFill/>
        </p:spPr>
        <p:txBody>
          <a:bodyPr wrap="square">
            <a:spAutoFit/>
          </a:bodyPr>
          <a:lstStyle/>
          <a:p>
            <a:r>
              <a:rPr lang="en-US" sz="1100" b="0" i="0" dirty="0">
                <a:solidFill>
                  <a:srgbClr val="4B4C4C"/>
                </a:solidFill>
                <a:effectLst/>
                <a:latin typeface="Helvetica Neue"/>
              </a:rPr>
              <a:t>1 Operating data as of March 31, 2022. Due to rounding, certain totals may not recalculate.</a:t>
            </a:r>
            <a:endParaRPr lang="en-US" sz="1100" dirty="0"/>
          </a:p>
        </p:txBody>
      </p:sp>
    </p:spTree>
    <p:extLst>
      <p:ext uri="{BB962C8B-B14F-4D97-AF65-F5344CB8AC3E}">
        <p14:creationId xmlns:p14="http://schemas.microsoft.com/office/powerpoint/2010/main" val="2819820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88486E9-75D8-1F64-5C09-D70A3958F25A}"/>
              </a:ext>
            </a:extLst>
          </p:cNvPr>
          <p:cNvGraphicFramePr>
            <a:graphicFrameLocks noChangeAspect="1"/>
          </p:cNvGraphicFramePr>
          <p:nvPr>
            <p:custDataLst>
              <p:tags r:id="rId1"/>
            </p:custDataLst>
            <p:extLst>
              <p:ext uri="{D42A27DB-BD31-4B8C-83A1-F6EECF244321}">
                <p14:modId xmlns:p14="http://schemas.microsoft.com/office/powerpoint/2010/main" val="229250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8E7A8DA-F807-D8CC-C737-182EAF764A3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07698" y="-39679"/>
            <a:ext cx="3750950" cy="3576637"/>
          </a:xfrm>
          <a:prstGeom prst="rect">
            <a:avLst/>
          </a:prstGeom>
        </p:spPr>
      </p:pic>
      <p:pic>
        <p:nvPicPr>
          <p:cNvPr id="5" name="Picture 4">
            <a:extLst>
              <a:ext uri="{FF2B5EF4-FFF2-40B4-BE49-F238E27FC236}">
                <a16:creationId xmlns:a16="http://schemas.microsoft.com/office/drawing/2014/main" id="{48035B1C-2D1B-93D8-0EC5-3E81FA64DE0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58648" y="-39679"/>
            <a:ext cx="3750950" cy="3812315"/>
          </a:xfrm>
          <a:prstGeom prst="rect">
            <a:avLst/>
          </a:prstGeom>
        </p:spPr>
      </p:pic>
      <p:pic>
        <p:nvPicPr>
          <p:cNvPr id="6" name="Picture 5">
            <a:extLst>
              <a:ext uri="{FF2B5EF4-FFF2-40B4-BE49-F238E27FC236}">
                <a16:creationId xmlns:a16="http://schemas.microsoft.com/office/drawing/2014/main" id="{86143AF3-CED5-90BF-81D0-3F95EAACB94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58648" y="3536958"/>
            <a:ext cx="3750950" cy="3321042"/>
          </a:xfrm>
          <a:prstGeom prst="rect">
            <a:avLst/>
          </a:prstGeom>
        </p:spPr>
      </p:pic>
      <p:pic>
        <p:nvPicPr>
          <p:cNvPr id="7" name="Picture 6">
            <a:extLst>
              <a:ext uri="{FF2B5EF4-FFF2-40B4-BE49-F238E27FC236}">
                <a16:creationId xmlns:a16="http://schemas.microsoft.com/office/drawing/2014/main" id="{0B7290B4-20AF-6554-93A9-2978F5D2050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18747" y="3536958"/>
            <a:ext cx="3739901" cy="3321042"/>
          </a:xfrm>
          <a:prstGeom prst="rect">
            <a:avLst/>
          </a:prstGeom>
        </p:spPr>
      </p:pic>
      <p:pic>
        <p:nvPicPr>
          <p:cNvPr id="8" name="Picture 7">
            <a:extLst>
              <a:ext uri="{FF2B5EF4-FFF2-40B4-BE49-F238E27FC236}">
                <a16:creationId xmlns:a16="http://schemas.microsoft.com/office/drawing/2014/main" id="{7A2049C3-E64B-B3FA-2DFF-D1DF1F960C0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9657" y="2735043"/>
            <a:ext cx="4768404" cy="4122957"/>
          </a:xfrm>
          <a:prstGeom prst="rect">
            <a:avLst/>
          </a:prstGeom>
        </p:spPr>
      </p:pic>
      <p:sp>
        <p:nvSpPr>
          <p:cNvPr id="9" name="Title 1">
            <a:extLst>
              <a:ext uri="{FF2B5EF4-FFF2-40B4-BE49-F238E27FC236}">
                <a16:creationId xmlns:a16="http://schemas.microsoft.com/office/drawing/2014/main" id="{89DE8781-C12C-485B-C776-641372EB3DD4}"/>
              </a:ext>
            </a:extLst>
          </p:cNvPr>
          <p:cNvSpPr txBox="1">
            <a:spLocks/>
          </p:cNvSpPr>
          <p:nvPr/>
        </p:nvSpPr>
        <p:spPr>
          <a:xfrm>
            <a:off x="7618" y="6412"/>
            <a:ext cx="4700080"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Bridging the Digital Divide</a:t>
            </a:r>
          </a:p>
          <a:p>
            <a:endParaRPr lang="en-US" sz="2800" dirty="0"/>
          </a:p>
        </p:txBody>
      </p:sp>
      <p:sp>
        <p:nvSpPr>
          <p:cNvPr id="10" name="Footer Placeholder 9">
            <a:extLst>
              <a:ext uri="{FF2B5EF4-FFF2-40B4-BE49-F238E27FC236}">
                <a16:creationId xmlns:a16="http://schemas.microsoft.com/office/drawing/2014/main" id="{5EA40F70-2155-EC56-A5D4-232DBC310EF6}"/>
              </a:ext>
            </a:extLst>
          </p:cNvPr>
          <p:cNvSpPr>
            <a:spLocks noGrp="1"/>
          </p:cNvSpPr>
          <p:nvPr>
            <p:ph type="ftr" sz="quarter" idx="3"/>
          </p:nvPr>
        </p:nvSpPr>
        <p:spPr/>
        <p:txBody>
          <a:bodyPr/>
          <a:lstStyle/>
          <a:p>
            <a:r>
              <a:rPr lang="en-US">
                <a:solidFill>
                  <a:srgbClr val="FFFFFF"/>
                </a:solidFill>
              </a:rPr>
              <a:t>LIBERTY LATIN AMERICA | CANTO 2022 | JULY 18</a:t>
            </a:r>
          </a:p>
        </p:txBody>
      </p:sp>
      <p:sp>
        <p:nvSpPr>
          <p:cNvPr id="11" name="Slide Number Placeholder 10">
            <a:extLst>
              <a:ext uri="{FF2B5EF4-FFF2-40B4-BE49-F238E27FC236}">
                <a16:creationId xmlns:a16="http://schemas.microsoft.com/office/drawing/2014/main" id="{917C495A-44EE-AA4C-F7CB-57402FFE2BFD}"/>
              </a:ext>
            </a:extLst>
          </p:cNvPr>
          <p:cNvSpPr>
            <a:spLocks noGrp="1"/>
          </p:cNvSpPr>
          <p:nvPr>
            <p:ph type="sldNum" sz="quarter" idx="4"/>
          </p:nvPr>
        </p:nvSpPr>
        <p:spPr/>
        <p:txBody>
          <a:bodyPr/>
          <a:lstStyle/>
          <a:p>
            <a:fld id="{496097A3-845D-4C79-9B10-713A18711759}" type="slidenum">
              <a:rPr lang="en-US" smtClean="0">
                <a:solidFill>
                  <a:schemeClr val="bg1"/>
                </a:solidFill>
              </a:rPr>
              <a:pPr/>
              <a:t>6</a:t>
            </a:fld>
            <a:endParaRPr lang="en-US" dirty="0">
              <a:solidFill>
                <a:schemeClr val="bg1"/>
              </a:solidFill>
            </a:endParaRPr>
          </a:p>
        </p:txBody>
      </p:sp>
    </p:spTree>
    <p:extLst>
      <p:ext uri="{BB962C8B-B14F-4D97-AF65-F5344CB8AC3E}">
        <p14:creationId xmlns:p14="http://schemas.microsoft.com/office/powerpoint/2010/main" val="1996184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E0F2372-4FCE-D3DF-9B8F-17BA83538581}"/>
              </a:ext>
            </a:extLst>
          </p:cNvPr>
          <p:cNvGraphicFramePr>
            <a:graphicFrameLocks noChangeAspect="1"/>
          </p:cNvGraphicFramePr>
          <p:nvPr>
            <p:custDataLst>
              <p:tags r:id="rId1"/>
            </p:custDataLst>
            <p:extLst>
              <p:ext uri="{D42A27DB-BD31-4B8C-83A1-F6EECF244321}">
                <p14:modId xmlns:p14="http://schemas.microsoft.com/office/powerpoint/2010/main" val="417507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218" name="Picture 2" descr="Advertorial | Flow connects over 500 communities to its fibre fast network  | News | Jamaica Gleaner">
            <a:extLst>
              <a:ext uri="{FF2B5EF4-FFF2-40B4-BE49-F238E27FC236}">
                <a16:creationId xmlns:a16="http://schemas.microsoft.com/office/drawing/2014/main" id="{BFBFABB3-3B89-0870-0A43-5134A9CD798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0" y="547151"/>
            <a:ext cx="3188034" cy="2397402"/>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DOCSIS 3.1 Modem vs. 3.0 - Speeds, Testing, DOCSIS Migration | VIAVI">
            <a:extLst>
              <a:ext uri="{FF2B5EF4-FFF2-40B4-BE49-F238E27FC236}">
                <a16:creationId xmlns:a16="http://schemas.microsoft.com/office/drawing/2014/main" id="{90487DAD-8615-35BD-BC61-EF038539D48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0" y="3273977"/>
            <a:ext cx="2873830" cy="293836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D8EEC0-A5D2-4F4F-EA1D-7854794EC9A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987612" y="414467"/>
            <a:ext cx="2097741" cy="2796988"/>
          </a:xfrm>
          <a:prstGeom prst="rect">
            <a:avLst/>
          </a:prstGeom>
        </p:spPr>
      </p:pic>
      <p:pic>
        <p:nvPicPr>
          <p:cNvPr id="9226" name="Picture 10" descr="Cell Tower Infrastructure Solutions for 5G Macro Coverage">
            <a:extLst>
              <a:ext uri="{FF2B5EF4-FFF2-40B4-BE49-F238E27FC236}">
                <a16:creationId xmlns:a16="http://schemas.microsoft.com/office/drawing/2014/main" id="{63E435C1-0D6F-9B51-6B1D-6DB41876A366}"/>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723080" y="1620210"/>
            <a:ext cx="3540889" cy="3540889"/>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Cable submarino">
            <a:extLst>
              <a:ext uri="{FF2B5EF4-FFF2-40B4-BE49-F238E27FC236}">
                <a16:creationId xmlns:a16="http://schemas.microsoft.com/office/drawing/2014/main" id="{7E6562E3-1E3F-FF2D-CEF9-DD6DFE5D3C0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987612" y="3575321"/>
            <a:ext cx="4196770" cy="2790096"/>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282FB9D8-9E77-10D1-24F0-DE6A54227551}"/>
              </a:ext>
            </a:extLst>
          </p:cNvPr>
          <p:cNvSpPr txBox="1"/>
          <p:nvPr/>
        </p:nvSpPr>
        <p:spPr>
          <a:xfrm>
            <a:off x="191196" y="2904645"/>
            <a:ext cx="2682634" cy="369332"/>
          </a:xfrm>
          <a:prstGeom prst="rect">
            <a:avLst/>
          </a:prstGeom>
          <a:noFill/>
        </p:spPr>
        <p:txBody>
          <a:bodyPr wrap="square">
            <a:spAutoFit/>
          </a:bodyPr>
          <a:lstStyle/>
          <a:p>
            <a:r>
              <a:rPr lang="en-US" sz="1800" dirty="0">
                <a:solidFill>
                  <a:schemeClr val="tx2"/>
                </a:solidFill>
              </a:rPr>
              <a:t>Growing fiber footprint</a:t>
            </a:r>
            <a:endParaRPr lang="en-US" dirty="0">
              <a:solidFill>
                <a:schemeClr val="tx2"/>
              </a:solidFill>
            </a:endParaRPr>
          </a:p>
        </p:txBody>
      </p:sp>
      <p:sp>
        <p:nvSpPr>
          <p:cNvPr id="72" name="TextBox 71">
            <a:extLst>
              <a:ext uri="{FF2B5EF4-FFF2-40B4-BE49-F238E27FC236}">
                <a16:creationId xmlns:a16="http://schemas.microsoft.com/office/drawing/2014/main" id="{0008E69D-5596-B061-8470-ED53289F264C}"/>
              </a:ext>
            </a:extLst>
          </p:cNvPr>
          <p:cNvSpPr txBox="1"/>
          <p:nvPr/>
        </p:nvSpPr>
        <p:spPr>
          <a:xfrm>
            <a:off x="4204389" y="5161099"/>
            <a:ext cx="2764083" cy="646331"/>
          </a:xfrm>
          <a:prstGeom prst="rect">
            <a:avLst/>
          </a:prstGeom>
          <a:noFill/>
        </p:spPr>
        <p:txBody>
          <a:bodyPr wrap="square">
            <a:spAutoFit/>
          </a:bodyPr>
          <a:lstStyle/>
          <a:p>
            <a:pPr algn="ctr"/>
            <a:r>
              <a:rPr lang="en-US" sz="1800" dirty="0">
                <a:solidFill>
                  <a:schemeClr val="tx2"/>
                </a:solidFill>
              </a:rPr>
              <a:t>Adding mobile coverage and capacity</a:t>
            </a:r>
            <a:endParaRPr lang="en-US" dirty="0">
              <a:solidFill>
                <a:schemeClr val="tx2"/>
              </a:solidFill>
            </a:endParaRPr>
          </a:p>
        </p:txBody>
      </p:sp>
      <p:sp>
        <p:nvSpPr>
          <p:cNvPr id="86" name="TextBox 85">
            <a:extLst>
              <a:ext uri="{FF2B5EF4-FFF2-40B4-BE49-F238E27FC236}">
                <a16:creationId xmlns:a16="http://schemas.microsoft.com/office/drawing/2014/main" id="{C935F4B3-DD65-1BC9-1C5E-9765B012C5D8}"/>
              </a:ext>
            </a:extLst>
          </p:cNvPr>
          <p:cNvSpPr txBox="1"/>
          <p:nvPr/>
        </p:nvSpPr>
        <p:spPr>
          <a:xfrm>
            <a:off x="-51879" y="6205257"/>
            <a:ext cx="4422912" cy="369332"/>
          </a:xfrm>
          <a:prstGeom prst="rect">
            <a:avLst/>
          </a:prstGeom>
          <a:noFill/>
        </p:spPr>
        <p:txBody>
          <a:bodyPr wrap="square">
            <a:spAutoFit/>
          </a:bodyPr>
          <a:lstStyle/>
          <a:p>
            <a:pPr algn="ctr"/>
            <a:r>
              <a:rPr lang="en-US" sz="1800" dirty="0">
                <a:solidFill>
                  <a:schemeClr val="tx2"/>
                </a:solidFill>
              </a:rPr>
              <a:t>Improving speeds on network reliability</a:t>
            </a:r>
            <a:endParaRPr lang="en-US" dirty="0">
              <a:solidFill>
                <a:schemeClr val="tx2"/>
              </a:solidFill>
            </a:endParaRPr>
          </a:p>
        </p:txBody>
      </p:sp>
      <p:sp>
        <p:nvSpPr>
          <p:cNvPr id="87" name="TextBox 86">
            <a:extLst>
              <a:ext uri="{FF2B5EF4-FFF2-40B4-BE49-F238E27FC236}">
                <a16:creationId xmlns:a16="http://schemas.microsoft.com/office/drawing/2014/main" id="{AB2E97B5-A9CD-B106-FE5F-5D691FD17EFA}"/>
              </a:ext>
            </a:extLst>
          </p:cNvPr>
          <p:cNvSpPr txBox="1"/>
          <p:nvPr/>
        </p:nvSpPr>
        <p:spPr>
          <a:xfrm>
            <a:off x="8315198" y="6365417"/>
            <a:ext cx="3770161" cy="369332"/>
          </a:xfrm>
          <a:prstGeom prst="rect">
            <a:avLst/>
          </a:prstGeom>
          <a:noFill/>
        </p:spPr>
        <p:txBody>
          <a:bodyPr wrap="square">
            <a:spAutoFit/>
          </a:bodyPr>
          <a:lstStyle/>
          <a:p>
            <a:pPr algn="ctr"/>
            <a:r>
              <a:rPr lang="en-US" sz="1800" dirty="0">
                <a:solidFill>
                  <a:schemeClr val="tx2"/>
                </a:solidFill>
              </a:rPr>
              <a:t>Expanding subsea capacity</a:t>
            </a:r>
            <a:endParaRPr lang="en-US" dirty="0">
              <a:solidFill>
                <a:schemeClr val="tx2"/>
              </a:solidFill>
            </a:endParaRPr>
          </a:p>
        </p:txBody>
      </p:sp>
      <p:sp>
        <p:nvSpPr>
          <p:cNvPr id="88" name="TextBox 87">
            <a:extLst>
              <a:ext uri="{FF2B5EF4-FFF2-40B4-BE49-F238E27FC236}">
                <a16:creationId xmlns:a16="http://schemas.microsoft.com/office/drawing/2014/main" id="{F9241871-FFCB-A856-61FB-870232A5245E}"/>
              </a:ext>
            </a:extLst>
          </p:cNvPr>
          <p:cNvSpPr txBox="1"/>
          <p:nvPr/>
        </p:nvSpPr>
        <p:spPr>
          <a:xfrm>
            <a:off x="8113219" y="3205989"/>
            <a:ext cx="3770161" cy="369332"/>
          </a:xfrm>
          <a:prstGeom prst="rect">
            <a:avLst/>
          </a:prstGeom>
          <a:noFill/>
        </p:spPr>
        <p:txBody>
          <a:bodyPr wrap="square">
            <a:spAutoFit/>
          </a:bodyPr>
          <a:lstStyle/>
          <a:p>
            <a:pPr algn="ctr"/>
            <a:r>
              <a:rPr lang="en-US" sz="1800" dirty="0">
                <a:solidFill>
                  <a:schemeClr val="tx2"/>
                </a:solidFill>
              </a:rPr>
              <a:t>Upgrading copper to Fiber</a:t>
            </a:r>
            <a:endParaRPr lang="en-US" dirty="0">
              <a:solidFill>
                <a:schemeClr val="tx2"/>
              </a:solidFill>
            </a:endParaRPr>
          </a:p>
        </p:txBody>
      </p:sp>
      <p:sp>
        <p:nvSpPr>
          <p:cNvPr id="4" name="Title 1">
            <a:extLst>
              <a:ext uri="{FF2B5EF4-FFF2-40B4-BE49-F238E27FC236}">
                <a16:creationId xmlns:a16="http://schemas.microsoft.com/office/drawing/2014/main" id="{981AB5D6-A437-4EFF-36E6-DE77EFFD9F68}"/>
              </a:ext>
            </a:extLst>
          </p:cNvPr>
          <p:cNvSpPr txBox="1">
            <a:spLocks/>
          </p:cNvSpPr>
          <p:nvPr/>
        </p:nvSpPr>
        <p:spPr>
          <a:xfrm>
            <a:off x="7618" y="6412"/>
            <a:ext cx="4700080"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Expanding Connectivity</a:t>
            </a:r>
          </a:p>
          <a:p>
            <a:endParaRPr lang="en-US" sz="2800" dirty="0"/>
          </a:p>
        </p:txBody>
      </p:sp>
      <p:pic>
        <p:nvPicPr>
          <p:cNvPr id="5" name="Picture 4" descr="A picture containing barrel&#10;&#10;Description automatically generated">
            <a:extLst>
              <a:ext uri="{FF2B5EF4-FFF2-40B4-BE49-F238E27FC236}">
                <a16:creationId xmlns:a16="http://schemas.microsoft.com/office/drawing/2014/main" id="{8B978632-CEE2-D7C4-8A0B-64711485062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086640" y="414466"/>
            <a:ext cx="2097742" cy="2796988"/>
          </a:xfrm>
          <a:prstGeom prst="rect">
            <a:avLst/>
          </a:prstGeom>
        </p:spPr>
      </p:pic>
      <p:sp>
        <p:nvSpPr>
          <p:cNvPr id="7" name="Footer Placeholder 6">
            <a:extLst>
              <a:ext uri="{FF2B5EF4-FFF2-40B4-BE49-F238E27FC236}">
                <a16:creationId xmlns:a16="http://schemas.microsoft.com/office/drawing/2014/main" id="{F47C44B0-6B37-CD75-79DC-9C2FA9C4A7E7}"/>
              </a:ext>
            </a:extLst>
          </p:cNvPr>
          <p:cNvSpPr>
            <a:spLocks noGrp="1"/>
          </p:cNvSpPr>
          <p:nvPr>
            <p:ph type="ftr" sz="quarter" idx="3"/>
          </p:nvPr>
        </p:nvSpPr>
        <p:spPr/>
        <p:txBody>
          <a:bodyPr/>
          <a:lstStyle/>
          <a:p>
            <a:r>
              <a:rPr lang="en-US" dirty="0"/>
              <a:t>LIBERTY LATIN AMERICA | CANTO 2022 | JULY 18</a:t>
            </a:r>
          </a:p>
        </p:txBody>
      </p:sp>
      <p:sp>
        <p:nvSpPr>
          <p:cNvPr id="8" name="Slide Number Placeholder 7">
            <a:extLst>
              <a:ext uri="{FF2B5EF4-FFF2-40B4-BE49-F238E27FC236}">
                <a16:creationId xmlns:a16="http://schemas.microsoft.com/office/drawing/2014/main" id="{24B00B6D-56E0-30F5-28F4-BDBB358351A3}"/>
              </a:ext>
            </a:extLst>
          </p:cNvPr>
          <p:cNvSpPr>
            <a:spLocks noGrp="1"/>
          </p:cNvSpPr>
          <p:nvPr>
            <p:ph type="sldNum" sz="quarter" idx="4"/>
          </p:nvPr>
        </p:nvSpPr>
        <p:spPr/>
        <p:txBody>
          <a:bodyPr/>
          <a:lstStyle/>
          <a:p>
            <a:fld id="{496097A3-845D-4C79-9B10-713A18711759}" type="slidenum">
              <a:rPr lang="en-US" smtClean="0"/>
              <a:pPr/>
              <a:t>7</a:t>
            </a:fld>
            <a:endParaRPr lang="en-US"/>
          </a:p>
        </p:txBody>
      </p:sp>
    </p:spTree>
    <p:extLst>
      <p:ext uri="{BB962C8B-B14F-4D97-AF65-F5344CB8AC3E}">
        <p14:creationId xmlns:p14="http://schemas.microsoft.com/office/powerpoint/2010/main" val="4016081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D82B12-6294-7CA5-E647-22FA59342ABF}"/>
              </a:ext>
            </a:extLst>
          </p:cNvPr>
          <p:cNvGraphicFramePr>
            <a:graphicFrameLocks noChangeAspect="1"/>
          </p:cNvGraphicFramePr>
          <p:nvPr>
            <p:custDataLst>
              <p:tags r:id="rId1"/>
            </p:custDataLst>
            <p:extLst>
              <p:ext uri="{D42A27DB-BD31-4B8C-83A1-F6EECF244321}">
                <p14:modId xmlns:p14="http://schemas.microsoft.com/office/powerpoint/2010/main" val="1341333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8D82B12-6294-7CA5-E647-22FA59342A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170" name="Picture 2" descr="Juggler Stock Photos, Royalty Free Juggler Images | Depositphotos">
            <a:extLst>
              <a:ext uri="{FF2B5EF4-FFF2-40B4-BE49-F238E27FC236}">
                <a16:creationId xmlns:a16="http://schemas.microsoft.com/office/drawing/2014/main" id="{5A685275-928A-A5CE-5144-9C7E8AD91012}"/>
              </a:ext>
            </a:extLst>
          </p:cNvPr>
          <p:cNvPicPr>
            <a:picLocks noChangeAspect="1" noChangeArrowheads="1"/>
          </p:cNvPicPr>
          <p:nvPr/>
        </p:nvPicPr>
        <p:blipFill>
          <a:blip r:embed="rId5">
            <a:alphaModFix amt="41000"/>
            <a:extLst>
              <a:ext uri="{28A0092B-C50C-407E-A947-70E740481C1C}">
                <a14:useLocalDpi xmlns:a14="http://schemas.microsoft.com/office/drawing/2010/main"/>
              </a:ext>
            </a:extLst>
          </a:blip>
          <a:srcRect/>
          <a:stretch>
            <a:fillRect/>
          </a:stretch>
        </p:blipFill>
        <p:spPr bwMode="auto">
          <a:xfrm>
            <a:off x="0" y="497"/>
            <a:ext cx="12192000" cy="6875564"/>
          </a:xfrm>
          <a:prstGeom prst="rect">
            <a:avLst/>
          </a:prstGeom>
          <a:noFill/>
          <a:effectLst>
            <a:glow>
              <a:schemeClr val="accent1">
                <a:alpha val="75917"/>
              </a:schemeClr>
            </a:glow>
            <a:outerShdw dir="5400000" algn="ctr" rotWithShape="0">
              <a:srgbClr val="000000">
                <a:alpha val="0"/>
              </a:srgb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61416F3-5C92-D63D-A060-625A17CEEC5A}"/>
              </a:ext>
            </a:extLst>
          </p:cNvPr>
          <p:cNvSpPr txBox="1"/>
          <p:nvPr/>
        </p:nvSpPr>
        <p:spPr>
          <a:xfrm>
            <a:off x="1116241" y="797111"/>
            <a:ext cx="2741303"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Operate and maintain our network</a:t>
            </a:r>
          </a:p>
        </p:txBody>
      </p:sp>
      <p:sp>
        <p:nvSpPr>
          <p:cNvPr id="12" name="TextBox 11">
            <a:extLst>
              <a:ext uri="{FF2B5EF4-FFF2-40B4-BE49-F238E27FC236}">
                <a16:creationId xmlns:a16="http://schemas.microsoft.com/office/drawing/2014/main" id="{C9F9904A-98ED-D46D-9D1C-34693AB3503A}"/>
              </a:ext>
            </a:extLst>
          </p:cNvPr>
          <p:cNvSpPr txBox="1"/>
          <p:nvPr/>
        </p:nvSpPr>
        <p:spPr>
          <a:xfrm>
            <a:off x="6903169" y="711905"/>
            <a:ext cx="4075119"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Develop new products and services to enable great experiences</a:t>
            </a:r>
          </a:p>
        </p:txBody>
      </p:sp>
      <p:sp>
        <p:nvSpPr>
          <p:cNvPr id="13" name="TextBox 12">
            <a:extLst>
              <a:ext uri="{FF2B5EF4-FFF2-40B4-BE49-F238E27FC236}">
                <a16:creationId xmlns:a16="http://schemas.microsoft.com/office/drawing/2014/main" id="{19B41C56-FDE6-4120-B320-F2A15B42C261}"/>
              </a:ext>
            </a:extLst>
          </p:cNvPr>
          <p:cNvSpPr txBox="1"/>
          <p:nvPr/>
        </p:nvSpPr>
        <p:spPr>
          <a:xfrm>
            <a:off x="1116241" y="3064161"/>
            <a:ext cx="2243139"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Create Operating Efficiency</a:t>
            </a:r>
          </a:p>
        </p:txBody>
      </p:sp>
      <p:sp>
        <p:nvSpPr>
          <p:cNvPr id="14" name="TextBox 13">
            <a:extLst>
              <a:ext uri="{FF2B5EF4-FFF2-40B4-BE49-F238E27FC236}">
                <a16:creationId xmlns:a16="http://schemas.microsoft.com/office/drawing/2014/main" id="{E0035758-C05B-64A1-541B-437EBAC47A08}"/>
              </a:ext>
            </a:extLst>
          </p:cNvPr>
          <p:cNvSpPr txBox="1"/>
          <p:nvPr/>
        </p:nvSpPr>
        <p:spPr>
          <a:xfrm>
            <a:off x="8611100" y="2432579"/>
            <a:ext cx="2741303"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Keep the network secure</a:t>
            </a:r>
          </a:p>
        </p:txBody>
      </p:sp>
      <p:sp>
        <p:nvSpPr>
          <p:cNvPr id="17" name="TextBox 16">
            <a:extLst>
              <a:ext uri="{FF2B5EF4-FFF2-40B4-BE49-F238E27FC236}">
                <a16:creationId xmlns:a16="http://schemas.microsoft.com/office/drawing/2014/main" id="{8C8CD85D-7D8D-E69E-CA53-657E921AD6DB}"/>
              </a:ext>
            </a:extLst>
          </p:cNvPr>
          <p:cNvSpPr txBox="1"/>
          <p:nvPr/>
        </p:nvSpPr>
        <p:spPr>
          <a:xfrm>
            <a:off x="2045770" y="5428775"/>
            <a:ext cx="6809498" cy="830997"/>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Challenging competitive and economic environment</a:t>
            </a:r>
          </a:p>
        </p:txBody>
      </p:sp>
      <p:sp>
        <p:nvSpPr>
          <p:cNvPr id="19" name="Title 1">
            <a:extLst>
              <a:ext uri="{FF2B5EF4-FFF2-40B4-BE49-F238E27FC236}">
                <a16:creationId xmlns:a16="http://schemas.microsoft.com/office/drawing/2014/main" id="{DDFE8AD1-D635-7266-9032-011874B84963}"/>
              </a:ext>
            </a:extLst>
          </p:cNvPr>
          <p:cNvSpPr txBox="1">
            <a:spLocks/>
          </p:cNvSpPr>
          <p:nvPr/>
        </p:nvSpPr>
        <p:spPr>
          <a:xfrm>
            <a:off x="7617" y="6412"/>
            <a:ext cx="11977554"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Our strength – Providing the right solutions to meet customers’ needs</a:t>
            </a:r>
          </a:p>
          <a:p>
            <a:endParaRPr lang="en-US" sz="2800" dirty="0"/>
          </a:p>
        </p:txBody>
      </p:sp>
      <p:sp>
        <p:nvSpPr>
          <p:cNvPr id="10" name="TextBox 9">
            <a:extLst>
              <a:ext uri="{FF2B5EF4-FFF2-40B4-BE49-F238E27FC236}">
                <a16:creationId xmlns:a16="http://schemas.microsoft.com/office/drawing/2014/main" id="{2B6FC0A1-45DE-71E0-FFF0-8D5FD6AEB8E3}"/>
              </a:ext>
            </a:extLst>
          </p:cNvPr>
          <p:cNvSpPr txBox="1"/>
          <p:nvPr/>
        </p:nvSpPr>
        <p:spPr>
          <a:xfrm>
            <a:off x="7991116" y="4123600"/>
            <a:ext cx="4200884"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Digitizing customer experience, pushing fiber, expanding capacity</a:t>
            </a:r>
          </a:p>
        </p:txBody>
      </p:sp>
      <p:sp>
        <p:nvSpPr>
          <p:cNvPr id="5" name="Footer Placeholder 4">
            <a:extLst>
              <a:ext uri="{FF2B5EF4-FFF2-40B4-BE49-F238E27FC236}">
                <a16:creationId xmlns:a16="http://schemas.microsoft.com/office/drawing/2014/main" id="{E506671C-4D6F-9CC3-A9F9-7E7ADDE38CB6}"/>
              </a:ext>
            </a:extLst>
          </p:cNvPr>
          <p:cNvSpPr>
            <a:spLocks noGrp="1"/>
          </p:cNvSpPr>
          <p:nvPr>
            <p:ph type="ftr" sz="quarter" idx="3"/>
          </p:nvPr>
        </p:nvSpPr>
        <p:spPr/>
        <p:txBody>
          <a:bodyPr/>
          <a:lstStyle/>
          <a:p>
            <a:r>
              <a:rPr lang="en-US">
                <a:solidFill>
                  <a:srgbClr val="FFFFFF"/>
                </a:solidFill>
              </a:rPr>
              <a:t>LIBERTY LATIN AMERICA | CANTO 2022 | JULY 18</a:t>
            </a:r>
          </a:p>
        </p:txBody>
      </p:sp>
      <p:sp>
        <p:nvSpPr>
          <p:cNvPr id="6" name="Slide Number Placeholder 5">
            <a:extLst>
              <a:ext uri="{FF2B5EF4-FFF2-40B4-BE49-F238E27FC236}">
                <a16:creationId xmlns:a16="http://schemas.microsoft.com/office/drawing/2014/main" id="{7DFE7BDB-0966-3C0D-23C2-60E501326D28}"/>
              </a:ext>
            </a:extLst>
          </p:cNvPr>
          <p:cNvSpPr>
            <a:spLocks noGrp="1"/>
          </p:cNvSpPr>
          <p:nvPr>
            <p:ph type="sldNum" sz="quarter" idx="4"/>
          </p:nvPr>
        </p:nvSpPr>
        <p:spPr/>
        <p:txBody>
          <a:bodyPr/>
          <a:lstStyle/>
          <a:p>
            <a:fld id="{496097A3-845D-4C79-9B10-713A18711759}" type="slidenum">
              <a:rPr lang="en-US" smtClean="0"/>
              <a:pPr/>
              <a:t>8</a:t>
            </a:fld>
            <a:endParaRPr lang="en-US"/>
          </a:p>
        </p:txBody>
      </p:sp>
    </p:spTree>
    <p:extLst>
      <p:ext uri="{BB962C8B-B14F-4D97-AF65-F5344CB8AC3E}">
        <p14:creationId xmlns:p14="http://schemas.microsoft.com/office/powerpoint/2010/main" val="1970223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E785D-E5E6-1432-650B-DE35293B10D9}"/>
              </a:ext>
            </a:extLst>
          </p:cNvPr>
          <p:cNvGraphicFramePr>
            <a:graphicFrameLocks noChangeAspect="1"/>
          </p:cNvGraphicFramePr>
          <p:nvPr>
            <p:custDataLst>
              <p:tags r:id="rId1"/>
            </p:custDataLst>
            <p:extLst>
              <p:ext uri="{D42A27DB-BD31-4B8C-83A1-F6EECF244321}">
                <p14:modId xmlns:p14="http://schemas.microsoft.com/office/powerpoint/2010/main" val="9780149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2C1E785D-E5E6-1432-650B-DE35293B10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172" name="Picture 4" descr="Cable versus DSL versus Fiber: Which Internet Connection Is Best?">
            <a:extLst>
              <a:ext uri="{FF2B5EF4-FFF2-40B4-BE49-F238E27FC236}">
                <a16:creationId xmlns:a16="http://schemas.microsoft.com/office/drawing/2014/main" id="{43E8F5E8-A5B3-1D9C-903D-653BE6920568}"/>
              </a:ext>
            </a:extLst>
          </p:cNvPr>
          <p:cNvPicPr>
            <a:picLocks noChangeAspect="1" noChangeArrowheads="1"/>
          </p:cNvPicPr>
          <p:nvPr/>
        </p:nvPicPr>
        <p:blipFill>
          <a:blip r:embed="rId6">
            <a:alphaModFix amt="14000"/>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9" name="Subtitle 2">
            <a:extLst>
              <a:ext uri="{FF2B5EF4-FFF2-40B4-BE49-F238E27FC236}">
                <a16:creationId xmlns:a16="http://schemas.microsoft.com/office/drawing/2014/main" id="{4D735941-07D0-6946-9957-9016498E0742}"/>
              </a:ext>
            </a:extLst>
          </p:cNvPr>
          <p:cNvSpPr txBox="1">
            <a:spLocks/>
          </p:cNvSpPr>
          <p:nvPr/>
        </p:nvSpPr>
        <p:spPr>
          <a:xfrm>
            <a:off x="9234986" y="614010"/>
            <a:ext cx="2964632"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360-Degree AR/Cloud DVR</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Ultra Broadband 1000</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DOCSIS 3.1/XGS-PON - &gt;1 Gbps</a:t>
            </a:r>
          </a:p>
        </p:txBody>
      </p:sp>
      <p:sp>
        <p:nvSpPr>
          <p:cNvPr id="26" name="Oval 25">
            <a:extLst>
              <a:ext uri="{FF2B5EF4-FFF2-40B4-BE49-F238E27FC236}">
                <a16:creationId xmlns:a16="http://schemas.microsoft.com/office/drawing/2014/main" id="{D5AD64FE-AC39-C349-B419-771C32380387}"/>
              </a:ext>
            </a:extLst>
          </p:cNvPr>
          <p:cNvSpPr>
            <a:spLocks noChangeAspect="1"/>
          </p:cNvSpPr>
          <p:nvPr/>
        </p:nvSpPr>
        <p:spPr>
          <a:xfrm>
            <a:off x="4318095" y="2030873"/>
            <a:ext cx="1357703" cy="1357703"/>
          </a:xfrm>
          <a:prstGeom prst="ellipse">
            <a:avLst/>
          </a:prstGeom>
          <a:solidFill>
            <a:schemeClr val="accent3">
              <a:alpha val="91000"/>
            </a:schemeClr>
          </a:solidFill>
          <a:ln w="9525"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05</a:t>
            </a:r>
          </a:p>
        </p:txBody>
      </p:sp>
      <p:sp>
        <p:nvSpPr>
          <p:cNvPr id="62" name="Oval 61">
            <a:extLst>
              <a:ext uri="{FF2B5EF4-FFF2-40B4-BE49-F238E27FC236}">
                <a16:creationId xmlns:a16="http://schemas.microsoft.com/office/drawing/2014/main" id="{E3259A99-5DA1-6E4D-959A-9810B380F9DD}"/>
              </a:ext>
            </a:extLst>
          </p:cNvPr>
          <p:cNvSpPr>
            <a:spLocks noChangeAspect="1"/>
          </p:cNvSpPr>
          <p:nvPr/>
        </p:nvSpPr>
        <p:spPr>
          <a:xfrm>
            <a:off x="2640014" y="3005047"/>
            <a:ext cx="1357703" cy="1357700"/>
          </a:xfrm>
          <a:prstGeom prst="ellipse">
            <a:avLst/>
          </a:prstGeom>
          <a:solidFill>
            <a:schemeClr val="accent6">
              <a:lumMod val="50000"/>
              <a:alpha val="91000"/>
            </a:schemeClr>
          </a:solidFill>
          <a:ln w="9525"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00</a:t>
            </a:r>
          </a:p>
        </p:txBody>
      </p:sp>
      <p:sp>
        <p:nvSpPr>
          <p:cNvPr id="69" name="Oval 68">
            <a:extLst>
              <a:ext uri="{FF2B5EF4-FFF2-40B4-BE49-F238E27FC236}">
                <a16:creationId xmlns:a16="http://schemas.microsoft.com/office/drawing/2014/main" id="{46D2C49E-ABA4-4A41-AC76-97B4C0D567DB}"/>
              </a:ext>
            </a:extLst>
          </p:cNvPr>
          <p:cNvSpPr>
            <a:spLocks noChangeAspect="1"/>
          </p:cNvSpPr>
          <p:nvPr/>
        </p:nvSpPr>
        <p:spPr>
          <a:xfrm>
            <a:off x="7674253" y="82534"/>
            <a:ext cx="1357703" cy="1357700"/>
          </a:xfrm>
          <a:prstGeom prst="ellipse">
            <a:avLst/>
          </a:prstGeom>
          <a:solidFill>
            <a:schemeClr val="accent4"/>
          </a:solidFill>
          <a:ln w="9525" cmpd="sng">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20+</a:t>
            </a:r>
          </a:p>
        </p:txBody>
      </p:sp>
      <p:sp>
        <p:nvSpPr>
          <p:cNvPr id="72" name="Oval 71">
            <a:extLst>
              <a:ext uri="{FF2B5EF4-FFF2-40B4-BE49-F238E27FC236}">
                <a16:creationId xmlns:a16="http://schemas.microsoft.com/office/drawing/2014/main" id="{E19C55E5-E7A5-6043-94A4-C965261A39AB}"/>
              </a:ext>
            </a:extLst>
          </p:cNvPr>
          <p:cNvSpPr>
            <a:spLocks noChangeAspect="1"/>
          </p:cNvSpPr>
          <p:nvPr/>
        </p:nvSpPr>
        <p:spPr>
          <a:xfrm>
            <a:off x="961934" y="3979217"/>
            <a:ext cx="1357703" cy="1357703"/>
          </a:xfrm>
          <a:prstGeom prst="ellipse">
            <a:avLst/>
          </a:prstGeom>
          <a:solidFill>
            <a:schemeClr val="accent1">
              <a:alpha val="91000"/>
            </a:schemeClr>
          </a:solidFill>
          <a:ln w="9525"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1990</a:t>
            </a:r>
          </a:p>
        </p:txBody>
      </p:sp>
      <p:sp>
        <p:nvSpPr>
          <p:cNvPr id="89" name="Oval 88">
            <a:extLst>
              <a:ext uri="{FF2B5EF4-FFF2-40B4-BE49-F238E27FC236}">
                <a16:creationId xmlns:a16="http://schemas.microsoft.com/office/drawing/2014/main" id="{1200BAF4-F22D-6A4A-A107-AA3387F2EBCC}"/>
              </a:ext>
            </a:extLst>
          </p:cNvPr>
          <p:cNvSpPr>
            <a:spLocks noChangeAspect="1"/>
          </p:cNvSpPr>
          <p:nvPr/>
        </p:nvSpPr>
        <p:spPr>
          <a:xfrm>
            <a:off x="5996174" y="1056705"/>
            <a:ext cx="1357703" cy="1357700"/>
          </a:xfrm>
          <a:prstGeom prst="ellipse">
            <a:avLst/>
          </a:prstGeom>
          <a:solidFill>
            <a:schemeClr val="bg1">
              <a:lumMod val="50000"/>
              <a:alpha val="91000"/>
            </a:schemeClr>
          </a:solidFill>
          <a:ln w="9525" cmpd="sng">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10</a:t>
            </a:r>
          </a:p>
        </p:txBody>
      </p:sp>
      <p:sp>
        <p:nvSpPr>
          <p:cNvPr id="111" name="Subtitle 2">
            <a:extLst>
              <a:ext uri="{FF2B5EF4-FFF2-40B4-BE49-F238E27FC236}">
                <a16:creationId xmlns:a16="http://schemas.microsoft.com/office/drawing/2014/main" id="{7061DE4E-0C46-CC46-8A0A-5C1FAC9FCAEB}"/>
              </a:ext>
            </a:extLst>
          </p:cNvPr>
          <p:cNvSpPr txBox="1">
            <a:spLocks/>
          </p:cNvSpPr>
          <p:nvPr/>
        </p:nvSpPr>
        <p:spPr>
          <a:xfrm>
            <a:off x="2409934" y="5260721"/>
            <a:ext cx="2193071"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Voice</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Dial-up Internet  </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64 kbps</a:t>
            </a:r>
          </a:p>
        </p:txBody>
      </p:sp>
      <p:sp>
        <p:nvSpPr>
          <p:cNvPr id="113" name="Subtitle 2">
            <a:extLst>
              <a:ext uri="{FF2B5EF4-FFF2-40B4-BE49-F238E27FC236}">
                <a16:creationId xmlns:a16="http://schemas.microsoft.com/office/drawing/2014/main" id="{F36AD9DA-789F-644A-B4CC-A08552B2F4CD}"/>
              </a:ext>
            </a:extLst>
          </p:cNvPr>
          <p:cNvSpPr txBox="1">
            <a:spLocks/>
          </p:cNvSpPr>
          <p:nvPr/>
        </p:nvSpPr>
        <p:spPr>
          <a:xfrm>
            <a:off x="4101247" y="4418141"/>
            <a:ext cx="2193071"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Photo/SD Video</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Broadband </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ADSL - 10 Mbps</a:t>
            </a:r>
          </a:p>
        </p:txBody>
      </p:sp>
      <p:sp>
        <p:nvSpPr>
          <p:cNvPr id="115" name="Subtitle 2">
            <a:extLst>
              <a:ext uri="{FF2B5EF4-FFF2-40B4-BE49-F238E27FC236}">
                <a16:creationId xmlns:a16="http://schemas.microsoft.com/office/drawing/2014/main" id="{90877E25-3327-264A-8E9F-377BAA7C6588}"/>
              </a:ext>
            </a:extLst>
          </p:cNvPr>
          <p:cNvSpPr txBox="1">
            <a:spLocks/>
          </p:cNvSpPr>
          <p:nvPr/>
        </p:nvSpPr>
        <p:spPr>
          <a:xfrm>
            <a:off x="5883965" y="3316819"/>
            <a:ext cx="3406294"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HD Video</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Ultra Broadband </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 VDSL/DOCSIS 3.0 – 30-200 Mbps </a:t>
            </a:r>
          </a:p>
        </p:txBody>
      </p:sp>
      <p:sp>
        <p:nvSpPr>
          <p:cNvPr id="117" name="Subtitle 2">
            <a:extLst>
              <a:ext uri="{FF2B5EF4-FFF2-40B4-BE49-F238E27FC236}">
                <a16:creationId xmlns:a16="http://schemas.microsoft.com/office/drawing/2014/main" id="{9BE4E4A4-B996-2C43-8B7E-728A4692B94A}"/>
              </a:ext>
            </a:extLst>
          </p:cNvPr>
          <p:cNvSpPr txBox="1">
            <a:spLocks/>
          </p:cNvSpPr>
          <p:nvPr/>
        </p:nvSpPr>
        <p:spPr>
          <a:xfrm>
            <a:off x="7538628" y="2175263"/>
            <a:ext cx="3302090"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4kHD/Multiple Screens</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Ultra Broadband 100</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DOCSIS 3.0/GPON  - 100-500 Mbps</a:t>
            </a:r>
          </a:p>
        </p:txBody>
      </p:sp>
      <p:sp>
        <p:nvSpPr>
          <p:cNvPr id="2" name="Striped Right Arrow 1">
            <a:extLst>
              <a:ext uri="{FF2B5EF4-FFF2-40B4-BE49-F238E27FC236}">
                <a16:creationId xmlns:a16="http://schemas.microsoft.com/office/drawing/2014/main" id="{DB648EA3-22A0-404D-863A-030D0AE260E9}"/>
              </a:ext>
            </a:extLst>
          </p:cNvPr>
          <p:cNvSpPr/>
          <p:nvPr/>
        </p:nvSpPr>
        <p:spPr>
          <a:xfrm rot="19891187">
            <a:off x="3921301" y="3047071"/>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Striped Right Arrow 38">
            <a:extLst>
              <a:ext uri="{FF2B5EF4-FFF2-40B4-BE49-F238E27FC236}">
                <a16:creationId xmlns:a16="http://schemas.microsoft.com/office/drawing/2014/main" id="{43276028-2784-4F4F-B66F-AD76A69F35B1}"/>
              </a:ext>
            </a:extLst>
          </p:cNvPr>
          <p:cNvSpPr/>
          <p:nvPr/>
        </p:nvSpPr>
        <p:spPr>
          <a:xfrm rot="19891187">
            <a:off x="2264517" y="4056532"/>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Striped Right Arrow 39">
            <a:extLst>
              <a:ext uri="{FF2B5EF4-FFF2-40B4-BE49-F238E27FC236}">
                <a16:creationId xmlns:a16="http://schemas.microsoft.com/office/drawing/2014/main" id="{A60133E1-5304-1B44-97F9-B295A9125A2B}"/>
              </a:ext>
            </a:extLst>
          </p:cNvPr>
          <p:cNvSpPr/>
          <p:nvPr/>
        </p:nvSpPr>
        <p:spPr>
          <a:xfrm rot="19891187">
            <a:off x="5600719" y="2100984"/>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Striped Right Arrow 47">
            <a:extLst>
              <a:ext uri="{FF2B5EF4-FFF2-40B4-BE49-F238E27FC236}">
                <a16:creationId xmlns:a16="http://schemas.microsoft.com/office/drawing/2014/main" id="{422546FF-4D7D-0B47-83BE-9AF2BE6C880D}"/>
              </a:ext>
            </a:extLst>
          </p:cNvPr>
          <p:cNvSpPr/>
          <p:nvPr/>
        </p:nvSpPr>
        <p:spPr>
          <a:xfrm rot="19891187">
            <a:off x="7298243" y="1123210"/>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itle 1">
            <a:extLst>
              <a:ext uri="{FF2B5EF4-FFF2-40B4-BE49-F238E27FC236}">
                <a16:creationId xmlns:a16="http://schemas.microsoft.com/office/drawing/2014/main" id="{5BD8E0E2-A1FA-F93A-73D9-4ED2F635CA6A}"/>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Data Consumption Evolution</a:t>
            </a:r>
          </a:p>
          <a:p>
            <a:endParaRPr lang="en-US" sz="2800" dirty="0"/>
          </a:p>
        </p:txBody>
      </p:sp>
      <p:sp>
        <p:nvSpPr>
          <p:cNvPr id="25" name="TextBox 24">
            <a:extLst>
              <a:ext uri="{FF2B5EF4-FFF2-40B4-BE49-F238E27FC236}">
                <a16:creationId xmlns:a16="http://schemas.microsoft.com/office/drawing/2014/main" id="{D3734E16-05F8-58F4-B917-B465F2F15EE3}"/>
              </a:ext>
            </a:extLst>
          </p:cNvPr>
          <p:cNvSpPr txBox="1"/>
          <p:nvPr/>
        </p:nvSpPr>
        <p:spPr>
          <a:xfrm>
            <a:off x="-7618" y="6142304"/>
            <a:ext cx="12198723" cy="430887"/>
          </a:xfrm>
          <a:prstGeom prst="rect">
            <a:avLst/>
          </a:prstGeom>
          <a:solidFill>
            <a:schemeClr val="accent4"/>
          </a:solidFill>
          <a:ln>
            <a:solidFill>
              <a:srgbClr val="0070C0"/>
            </a:solidFill>
          </a:ln>
        </p:spPr>
        <p:txBody>
          <a:bodyPr wrap="square" lIns="0" tIns="0" rIns="0" bIns="0" rtlCol="0">
            <a:spAutoFit/>
          </a:bodyPr>
          <a:lstStyle/>
          <a:p>
            <a:pPr algn="ctr"/>
            <a:r>
              <a:rPr lang="en-US" sz="2800" dirty="0">
                <a:solidFill>
                  <a:schemeClr val="bg1"/>
                </a:solidFill>
              </a:rPr>
              <a:t>Content delivery driving bandwidth requirements</a:t>
            </a:r>
          </a:p>
        </p:txBody>
      </p:sp>
      <p:sp>
        <p:nvSpPr>
          <p:cNvPr id="5" name="Footer Placeholder 4">
            <a:extLst>
              <a:ext uri="{FF2B5EF4-FFF2-40B4-BE49-F238E27FC236}">
                <a16:creationId xmlns:a16="http://schemas.microsoft.com/office/drawing/2014/main" id="{07BDC5D7-CF01-2F1C-A968-E1ACAEA128AA}"/>
              </a:ext>
            </a:extLst>
          </p:cNvPr>
          <p:cNvSpPr>
            <a:spLocks noGrp="1"/>
          </p:cNvSpPr>
          <p:nvPr>
            <p:ph type="ftr" sz="quarter" idx="3"/>
          </p:nvPr>
        </p:nvSpPr>
        <p:spPr/>
        <p:txBody>
          <a:bodyPr/>
          <a:lstStyle/>
          <a:p>
            <a:r>
              <a:rPr lang="en-US" dirty="0"/>
              <a:t>LIBERTY LATIN AMERICA | CANTO 2022 | JULY 18</a:t>
            </a:r>
          </a:p>
        </p:txBody>
      </p:sp>
      <p:sp>
        <p:nvSpPr>
          <p:cNvPr id="6" name="Slide Number Placeholder 5">
            <a:extLst>
              <a:ext uri="{FF2B5EF4-FFF2-40B4-BE49-F238E27FC236}">
                <a16:creationId xmlns:a16="http://schemas.microsoft.com/office/drawing/2014/main" id="{94F0092D-19D2-DE10-7769-4730ECE8A87C}"/>
              </a:ext>
            </a:extLst>
          </p:cNvPr>
          <p:cNvSpPr>
            <a:spLocks noGrp="1"/>
          </p:cNvSpPr>
          <p:nvPr>
            <p:ph type="sldNum" sz="quarter" idx="4"/>
          </p:nvPr>
        </p:nvSpPr>
        <p:spPr/>
        <p:txBody>
          <a:bodyPr/>
          <a:lstStyle/>
          <a:p>
            <a:fld id="{496097A3-845D-4C79-9B10-713A18711759}" type="slidenum">
              <a:rPr lang="en-US" smtClean="0"/>
              <a:pPr/>
              <a:t>9</a:t>
            </a:fld>
            <a:endParaRPr lang="en-US"/>
          </a:p>
        </p:txBody>
      </p:sp>
      <p:sp>
        <p:nvSpPr>
          <p:cNvPr id="24" name="TextBox 23">
            <a:extLst>
              <a:ext uri="{FF2B5EF4-FFF2-40B4-BE49-F238E27FC236}">
                <a16:creationId xmlns:a16="http://schemas.microsoft.com/office/drawing/2014/main" id="{B376F51E-180F-A940-D91C-52B219AA11B7}"/>
              </a:ext>
            </a:extLst>
          </p:cNvPr>
          <p:cNvSpPr txBox="1"/>
          <p:nvPr/>
        </p:nvSpPr>
        <p:spPr>
          <a:xfrm>
            <a:off x="4038097" y="6563039"/>
            <a:ext cx="7778633" cy="261610"/>
          </a:xfrm>
          <a:prstGeom prst="rect">
            <a:avLst/>
          </a:prstGeom>
          <a:noFill/>
        </p:spPr>
        <p:txBody>
          <a:bodyPr wrap="square">
            <a:spAutoFit/>
          </a:bodyPr>
          <a:lstStyle/>
          <a:p>
            <a:r>
              <a:rPr lang="en-US" sz="1100" dirty="0"/>
              <a:t>SOURCE: Internal Analysis</a:t>
            </a:r>
          </a:p>
        </p:txBody>
      </p:sp>
    </p:spTree>
    <p:extLst>
      <p:ext uri="{BB962C8B-B14F-4D97-AF65-F5344CB8AC3E}">
        <p14:creationId xmlns:p14="http://schemas.microsoft.com/office/powerpoint/2010/main" val="17774138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1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84069510999999996770E+00&quot;&gt;&lt;m_msothmcolidx val=&quot;0&quot;/&gt;&lt;m_rgb r=&quot;3C&quot; g=&quot;9D&quot; b=&quot;FF&quot;/&gt;&lt;/elem&gt;&lt;elem m_fUsage=&quot;1.89999999999999991118E+00&quot;&gt;&lt;m_msothmcolidx val=&quot;0&quot;/&gt;&lt;m_rgb r=&quot;53&quot; g=&quot;CC&quot; b=&quot;02&quot;/&gt;&lt;/elem&gt;&lt;elem m_fUsage=&quot;7.29000000000000092371E-01&quot;&gt;&lt;m_msothmcolidx val=&quot;0&quot;/&gt;&lt;m_rgb r=&quot;44&quot; g=&quot;B4&quot; b=&quot;E4&quot;/&gt;&lt;/elem&gt;&lt;elem m_fUsage=&quot;6.56100000000000127542E-01&quot;&gt;&lt;m_msothmcolidx val=&quot;0&quot;/&gt;&lt;m_rgb r=&quot;EA&quot; g=&quot;6A&quot; b=&quot;E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SGdvD_fSCS.HkGWr66rJ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SGdvD_fSCS.HkGWr66r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ON6VB0hpmCKhwb0nsMw8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URm8c6KO5MCMUAcDfHx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Kxyopeiu5.YtdajRgntA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ru6cZlOwR.vPHnh.Dzna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vDjVdlCnuCVdPnCokNW2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0mzsHJSPzJIVkLSORNL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SXv1q4d7Xuv5Pk8rMUkL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MCAUhVteq1qGRVTbN0gT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2z.6X5qhiBuP0M_PJ06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vYtQUhPefPDinJQjBfA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_WHmq1p2sVPWepvoSGt5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SGdvD_fSCS.HkGWr66rJ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heme/theme1.xml><?xml version="1.0" encoding="utf-8"?>
<a:theme xmlns:a="http://schemas.openxmlformats.org/drawingml/2006/main" name="LLA Front Cover Slides">
  <a:themeElements>
    <a:clrScheme name="LLA Custom Colors">
      <a:dk1>
        <a:srgbClr val="3E3838"/>
      </a:dk1>
      <a:lt1>
        <a:srgbClr val="FFFFFF"/>
      </a:lt1>
      <a:dk2>
        <a:srgbClr val="6F6B6C"/>
      </a:dk2>
      <a:lt2>
        <a:srgbClr val="FF4100"/>
      </a:lt2>
      <a:accent1>
        <a:srgbClr val="FF3801"/>
      </a:accent1>
      <a:accent2>
        <a:srgbClr val="831F82"/>
      </a:accent2>
      <a:accent3>
        <a:srgbClr val="C2000B"/>
      </a:accent3>
      <a:accent4>
        <a:srgbClr val="2B66B2"/>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2800" dirty="0"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LA Slide Dividers">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2800" dirty="0"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LA H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LA Finance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LA Legal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6F8976B7DDB049A16B726020795D34" ma:contentTypeVersion="6" ma:contentTypeDescription="Create a new document." ma:contentTypeScope="" ma:versionID="6abb0b344898b1416aa6a9b82f9e9ed2">
  <xsd:schema xmlns:xsd="http://www.w3.org/2001/XMLSchema" xmlns:xs="http://www.w3.org/2001/XMLSchema" xmlns:p="http://schemas.microsoft.com/office/2006/metadata/properties" xmlns:ns2="06554881-01dc-4211-88e3-3462a4583315" xmlns:ns3="b00e2bf9-2c1f-4be2-92a9-0c12cc29a816" targetNamespace="http://schemas.microsoft.com/office/2006/metadata/properties" ma:root="true" ma:fieldsID="d680d05f6c9d67aff4f400d0c9bae37c" ns2:_="" ns3:_="">
    <xsd:import namespace="06554881-01dc-4211-88e3-3462a4583315"/>
    <xsd:import namespace="b00e2bf9-2c1f-4be2-92a9-0c12cc29a81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554881-01dc-4211-88e3-3462a45833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0e2bf9-2c1f-4be2-92a9-0c12cc29a8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FF37380-D7C0-41D6-B9FF-89DB71B56F77}">
  <ds:schemaRefs>
    <ds:schemaRef ds:uri="http://schemas.microsoft.com/sharepoint/v3/contenttype/forms"/>
  </ds:schemaRefs>
</ds:datastoreItem>
</file>

<file path=customXml/itemProps2.xml><?xml version="1.0" encoding="utf-8"?>
<ds:datastoreItem xmlns:ds="http://schemas.openxmlformats.org/officeDocument/2006/customXml" ds:itemID="{62FA1F35-CCBF-4A0B-9D14-359B420107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554881-01dc-4211-88e3-3462a4583315"/>
    <ds:schemaRef ds:uri="b00e2bf9-2c1f-4be2-92a9-0c12cc29a8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6D7DA5A-E7F2-40F7-B225-F90B9D8F2572}">
  <ds:schemaRefs>
    <ds:schemaRef ds:uri="http://purl.org/dc/dcmitype/"/>
    <ds:schemaRef ds:uri="http://schemas.microsoft.com/office/2006/documentManagement/types"/>
    <ds:schemaRef ds:uri="http://schemas.microsoft.com/office/infopath/2007/PartnerControls"/>
    <ds:schemaRef ds:uri="14030eec-3f5b-4b0b-9444-da13055d5ddb"/>
    <ds:schemaRef ds:uri="http://purl.org/dc/elements/1.1/"/>
    <ds:schemaRef ds:uri="http://schemas.microsoft.com/office/2006/metadata/properties"/>
    <ds:schemaRef ds:uri="http://www.w3.org/XML/1998/namespace"/>
    <ds:schemaRef ds:uri="http://purl.org/dc/terms/"/>
    <ds:schemaRef ds:uri="http://schemas.openxmlformats.org/package/2006/metadata/core-properties"/>
    <ds:schemaRef ds:uri="3a935923-d41d-45af-9896-0b499a53d046"/>
  </ds:schemaRefs>
</ds:datastoreItem>
</file>

<file path=docProps/app.xml><?xml version="1.0" encoding="utf-8"?>
<Properties xmlns="http://schemas.openxmlformats.org/officeDocument/2006/extended-properties" xmlns:vt="http://schemas.openxmlformats.org/officeDocument/2006/docPropsVTypes">
  <TotalTime>15327</TotalTime>
  <Words>1826</Words>
  <Application>Microsoft Office PowerPoint</Application>
  <PresentationFormat>Widescreen</PresentationFormat>
  <Paragraphs>245</Paragraphs>
  <Slides>18</Slides>
  <Notes>5</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18</vt:i4>
      </vt:variant>
    </vt:vector>
  </HeadingPairs>
  <TitlesOfParts>
    <vt:vector size="42" baseType="lpstr">
      <vt:lpstr>Arial</vt:lpstr>
      <vt:lpstr>Arial MT Light</vt:lpstr>
      <vt:lpstr>Calibri</vt:lpstr>
      <vt:lpstr>Helvetica Neue</vt:lpstr>
      <vt:lpstr>Lato Light</vt:lpstr>
      <vt:lpstr>Noto Sans ExtraLight</vt:lpstr>
      <vt:lpstr>Poppins</vt:lpstr>
      <vt:lpstr>Roboto Bold</vt:lpstr>
      <vt:lpstr>Roboto Light</vt:lpstr>
      <vt:lpstr>Wingdings 2</vt:lpstr>
      <vt:lpstr>LLA Front Cover Slides</vt:lpstr>
      <vt:lpstr>LLA Slide Dividers</vt:lpstr>
      <vt:lpstr>LLA Master Theme</vt:lpstr>
      <vt:lpstr>LLA HR Theme</vt:lpstr>
      <vt:lpstr>LLA Finance Theme</vt:lpstr>
      <vt:lpstr>LLA Legal Theme</vt:lpstr>
      <vt:lpstr>LLA Strategy Theme</vt:lpstr>
      <vt:lpstr>1_LLA Master Theme</vt:lpstr>
      <vt:lpstr>1_LLA Strategy Theme</vt:lpstr>
      <vt:lpstr>2_LLA Master Theme</vt:lpstr>
      <vt:lpstr>2_LLA Strategy Theme</vt:lpstr>
      <vt:lpstr>3_LLA Master Theme</vt:lpstr>
      <vt:lpstr>3_LLA Strategy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bruary 2020 Ops Review</dc:title>
  <dc:creator>Rafael Buigas</dc:creator>
  <cp:lastModifiedBy>Rodrigo Amorim</cp:lastModifiedBy>
  <cp:revision>104</cp:revision>
  <dcterms:created xsi:type="dcterms:W3CDTF">2020-10-08T14:25:33Z</dcterms:created>
  <dcterms:modified xsi:type="dcterms:W3CDTF">2022-07-18T04: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6F8976B7DDB049A16B726020795D34</vt:lpwstr>
  </property>
</Properties>
</file>